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rels" ContentType="application/vnd.openxmlformats-package.relationships+xml"/>
  <Default Extension="xml" ContentType="application/xml"/>
  <Default Extension="gif" ContentType="image/gif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heme/theme2.xml" ContentType="application/vnd.openxmlformats-officedocument.theme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tags/tag4.xml" ContentType="application/vnd.openxmlformats-officedocument.presentationml.tags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theme/themeOverride1.xml" ContentType="application/vnd.openxmlformats-officedocument.themeOverride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theme/themeOverride2.xml" ContentType="application/vnd.openxmlformats-officedocument.themeOverride+xml"/>
  <Override PartName="/ppt/charts/chart7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theme/themeOverride3.xml" ContentType="application/vnd.openxmlformats-officedocument.themeOverride+xml"/>
  <Override PartName="/ppt/charts/chart8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theme/themeOverride4.xml" ContentType="application/vnd.openxmlformats-officedocument.themeOverride+xml"/>
  <Override PartName="/ppt/charts/chart9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theme/themeOverride5.xml" ContentType="application/vnd.openxmlformats-officedocument.themeOverr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  <p:sldMasterId id="2147483661" r:id="rId5"/>
    <p:sldMasterId id="2147483679" r:id="rId6"/>
  </p:sldMasterIdLst>
  <p:notesMasterIdLst>
    <p:notesMasterId r:id="rId60"/>
  </p:notesMasterIdLst>
  <p:handoutMasterIdLst>
    <p:handoutMasterId r:id="rId61"/>
  </p:handoutMasterIdLst>
  <p:sldIdLst>
    <p:sldId id="319" r:id="rId7"/>
    <p:sldId id="325" r:id="rId8"/>
    <p:sldId id="381" r:id="rId9"/>
    <p:sldId id="330" r:id="rId10"/>
    <p:sldId id="329" r:id="rId11"/>
    <p:sldId id="321" r:id="rId12"/>
    <p:sldId id="323" r:id="rId13"/>
    <p:sldId id="331" r:id="rId14"/>
    <p:sldId id="382" r:id="rId15"/>
    <p:sldId id="340" r:id="rId16"/>
    <p:sldId id="341" r:id="rId17"/>
    <p:sldId id="342" r:id="rId18"/>
    <p:sldId id="343" r:id="rId19"/>
    <p:sldId id="344" r:id="rId20"/>
    <p:sldId id="334" r:id="rId21"/>
    <p:sldId id="346" r:id="rId22"/>
    <p:sldId id="376" r:id="rId23"/>
    <p:sldId id="350" r:id="rId24"/>
    <p:sldId id="351" r:id="rId25"/>
    <p:sldId id="352" r:id="rId26"/>
    <p:sldId id="353" r:id="rId27"/>
    <p:sldId id="354" r:id="rId28"/>
    <p:sldId id="355" r:id="rId29"/>
    <p:sldId id="356" r:id="rId30"/>
    <p:sldId id="357" r:id="rId31"/>
    <p:sldId id="360" r:id="rId32"/>
    <p:sldId id="385" r:id="rId33"/>
    <p:sldId id="386" r:id="rId34"/>
    <p:sldId id="387" r:id="rId35"/>
    <p:sldId id="388" r:id="rId36"/>
    <p:sldId id="389" r:id="rId37"/>
    <p:sldId id="390" r:id="rId38"/>
    <p:sldId id="391" r:id="rId39"/>
    <p:sldId id="392" r:id="rId40"/>
    <p:sldId id="393" r:id="rId41"/>
    <p:sldId id="394" r:id="rId42"/>
    <p:sldId id="395" r:id="rId43"/>
    <p:sldId id="396" r:id="rId44"/>
    <p:sldId id="397" r:id="rId45"/>
    <p:sldId id="384" r:id="rId46"/>
    <p:sldId id="379" r:id="rId47"/>
    <p:sldId id="380" r:id="rId48"/>
    <p:sldId id="363" r:id="rId49"/>
    <p:sldId id="364" r:id="rId50"/>
    <p:sldId id="365" r:id="rId51"/>
    <p:sldId id="366" r:id="rId52"/>
    <p:sldId id="367" r:id="rId53"/>
    <p:sldId id="369" r:id="rId54"/>
    <p:sldId id="375" r:id="rId55"/>
    <p:sldId id="377" r:id="rId56"/>
    <p:sldId id="383" r:id="rId57"/>
    <p:sldId id="378" r:id="rId58"/>
    <p:sldId id="318" r:id="rId59"/>
  </p:sldIdLst>
  <p:sldSz cx="12192000" cy="6858000"/>
  <p:notesSz cx="7010400" cy="92964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6633"/>
    <a:srgbClr val="FFCC3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A488322-F2BA-4B5B-9748-0D474271808F}" styleName="Medium Style 3 - Accent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74C1A8A3-306A-4EB7-A6B1-4F7E0EB9C5D6}" styleName="Medium Style 3 - Accent 5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EB9631B5-78F2-41C9-869B-9F39066F8104}" styleName="Medium Style 3 - Accent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EB344D84-9AFB-497E-A393-DC336BA19D2E}" styleName="Medium Style 3 - Accent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85BE263C-DBD7-4A20-BB59-AAB30ACAA65A}" styleName="Medium Style 3 - Acc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6E25E649-3F16-4E02-A733-19D2CDBF48F0}" styleName="Medium Style 3 - Acc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1EBBBCC-DAD2-459C-BE2E-F6DE35CF9A28}" styleName="Dark Style 2 - Accent 3/Accent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0660B408-B3CF-4A94-85FC-2B1E0A45F4A2}" styleName="Dark Style 2 - Accent 1/Acc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5202B0CA-FC54-4496-8BCA-5EF66A818D29}" styleName="Dark Style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7475" autoAdjust="0"/>
    <p:restoredTop sz="94660"/>
  </p:normalViewPr>
  <p:slideViewPr>
    <p:cSldViewPr snapToGrid="0">
      <p:cViewPr varScale="1">
        <p:scale>
          <a:sx n="73" d="100"/>
          <a:sy n="73" d="100"/>
        </p:scale>
        <p:origin x="516" y="7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0.xml"/><Relationship Id="rId21" Type="http://schemas.openxmlformats.org/officeDocument/2006/relationships/slide" Target="slides/slide15.xml"/><Relationship Id="rId34" Type="http://schemas.openxmlformats.org/officeDocument/2006/relationships/slide" Target="slides/slide28.xml"/><Relationship Id="rId42" Type="http://schemas.openxmlformats.org/officeDocument/2006/relationships/slide" Target="slides/slide36.xml"/><Relationship Id="rId47" Type="http://schemas.openxmlformats.org/officeDocument/2006/relationships/slide" Target="slides/slide41.xml"/><Relationship Id="rId50" Type="http://schemas.openxmlformats.org/officeDocument/2006/relationships/slide" Target="slides/slide44.xml"/><Relationship Id="rId55" Type="http://schemas.openxmlformats.org/officeDocument/2006/relationships/slide" Target="slides/slide49.xml"/><Relationship Id="rId63" Type="http://schemas.openxmlformats.org/officeDocument/2006/relationships/viewProps" Target="viewProps.xml"/><Relationship Id="rId7" Type="http://schemas.openxmlformats.org/officeDocument/2006/relationships/slide" Target="slides/slide1.xml"/><Relationship Id="rId2" Type="http://schemas.openxmlformats.org/officeDocument/2006/relationships/customXml" Target="../customXml/item2.xml"/><Relationship Id="rId16" Type="http://schemas.openxmlformats.org/officeDocument/2006/relationships/slide" Target="slides/slide10.xml"/><Relationship Id="rId29" Type="http://schemas.openxmlformats.org/officeDocument/2006/relationships/slide" Target="slides/slide23.xml"/><Relationship Id="rId11" Type="http://schemas.openxmlformats.org/officeDocument/2006/relationships/slide" Target="slides/slide5.xml"/><Relationship Id="rId24" Type="http://schemas.openxmlformats.org/officeDocument/2006/relationships/slide" Target="slides/slide18.xml"/><Relationship Id="rId32" Type="http://schemas.openxmlformats.org/officeDocument/2006/relationships/slide" Target="slides/slide26.xml"/><Relationship Id="rId37" Type="http://schemas.openxmlformats.org/officeDocument/2006/relationships/slide" Target="slides/slide31.xml"/><Relationship Id="rId40" Type="http://schemas.openxmlformats.org/officeDocument/2006/relationships/slide" Target="slides/slide34.xml"/><Relationship Id="rId45" Type="http://schemas.openxmlformats.org/officeDocument/2006/relationships/slide" Target="slides/slide39.xml"/><Relationship Id="rId53" Type="http://schemas.openxmlformats.org/officeDocument/2006/relationships/slide" Target="slides/slide47.xml"/><Relationship Id="rId58" Type="http://schemas.openxmlformats.org/officeDocument/2006/relationships/slide" Target="slides/slide52.xml"/><Relationship Id="rId5" Type="http://schemas.openxmlformats.org/officeDocument/2006/relationships/slideMaster" Target="slideMasters/slideMaster2.xml"/><Relationship Id="rId61" Type="http://schemas.openxmlformats.org/officeDocument/2006/relationships/handoutMaster" Target="handoutMasters/handoutMaster1.xml"/><Relationship Id="rId19" Type="http://schemas.openxmlformats.org/officeDocument/2006/relationships/slide" Target="slides/slide13.xml"/><Relationship Id="rId14" Type="http://schemas.openxmlformats.org/officeDocument/2006/relationships/slide" Target="slides/slide8.xml"/><Relationship Id="rId22" Type="http://schemas.openxmlformats.org/officeDocument/2006/relationships/slide" Target="slides/slide16.xml"/><Relationship Id="rId27" Type="http://schemas.openxmlformats.org/officeDocument/2006/relationships/slide" Target="slides/slide21.xml"/><Relationship Id="rId30" Type="http://schemas.openxmlformats.org/officeDocument/2006/relationships/slide" Target="slides/slide24.xml"/><Relationship Id="rId35" Type="http://schemas.openxmlformats.org/officeDocument/2006/relationships/slide" Target="slides/slide29.xml"/><Relationship Id="rId43" Type="http://schemas.openxmlformats.org/officeDocument/2006/relationships/slide" Target="slides/slide37.xml"/><Relationship Id="rId48" Type="http://schemas.openxmlformats.org/officeDocument/2006/relationships/slide" Target="slides/slide42.xml"/><Relationship Id="rId56" Type="http://schemas.openxmlformats.org/officeDocument/2006/relationships/slide" Target="slides/slide50.xml"/><Relationship Id="rId64" Type="http://schemas.openxmlformats.org/officeDocument/2006/relationships/theme" Target="theme/theme1.xml"/><Relationship Id="rId8" Type="http://schemas.openxmlformats.org/officeDocument/2006/relationships/slide" Target="slides/slide2.xml"/><Relationship Id="rId51" Type="http://schemas.openxmlformats.org/officeDocument/2006/relationships/slide" Target="slides/slide45.xml"/><Relationship Id="rId3" Type="http://schemas.openxmlformats.org/officeDocument/2006/relationships/customXml" Target="../customXml/item3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slide" Target="slides/slide19.xml"/><Relationship Id="rId33" Type="http://schemas.openxmlformats.org/officeDocument/2006/relationships/slide" Target="slides/slide27.xml"/><Relationship Id="rId38" Type="http://schemas.openxmlformats.org/officeDocument/2006/relationships/slide" Target="slides/slide32.xml"/><Relationship Id="rId46" Type="http://schemas.openxmlformats.org/officeDocument/2006/relationships/slide" Target="slides/slide40.xml"/><Relationship Id="rId59" Type="http://schemas.openxmlformats.org/officeDocument/2006/relationships/slide" Target="slides/slide53.xml"/><Relationship Id="rId20" Type="http://schemas.openxmlformats.org/officeDocument/2006/relationships/slide" Target="slides/slide14.xml"/><Relationship Id="rId41" Type="http://schemas.openxmlformats.org/officeDocument/2006/relationships/slide" Target="slides/slide35.xml"/><Relationship Id="rId54" Type="http://schemas.openxmlformats.org/officeDocument/2006/relationships/slide" Target="slides/slide48.xml"/><Relationship Id="rId62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5" Type="http://schemas.openxmlformats.org/officeDocument/2006/relationships/slide" Target="slides/slide9.xml"/><Relationship Id="rId23" Type="http://schemas.openxmlformats.org/officeDocument/2006/relationships/slide" Target="slides/slide17.xml"/><Relationship Id="rId28" Type="http://schemas.openxmlformats.org/officeDocument/2006/relationships/slide" Target="slides/slide22.xml"/><Relationship Id="rId36" Type="http://schemas.openxmlformats.org/officeDocument/2006/relationships/slide" Target="slides/slide30.xml"/><Relationship Id="rId49" Type="http://schemas.openxmlformats.org/officeDocument/2006/relationships/slide" Target="slides/slide43.xml"/><Relationship Id="rId57" Type="http://schemas.openxmlformats.org/officeDocument/2006/relationships/slide" Target="slides/slide51.xml"/><Relationship Id="rId10" Type="http://schemas.openxmlformats.org/officeDocument/2006/relationships/slide" Target="slides/slide4.xml"/><Relationship Id="rId31" Type="http://schemas.openxmlformats.org/officeDocument/2006/relationships/slide" Target="slides/slide25.xml"/><Relationship Id="rId44" Type="http://schemas.openxmlformats.org/officeDocument/2006/relationships/slide" Target="slides/slide38.xml"/><Relationship Id="rId52" Type="http://schemas.openxmlformats.org/officeDocument/2006/relationships/slide" Target="slides/slide46.xml"/><Relationship Id="rId60" Type="http://schemas.openxmlformats.org/officeDocument/2006/relationships/notesMaster" Target="notesMasters/notesMaster1.xml"/><Relationship Id="rId65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39" Type="http://schemas.openxmlformats.org/officeDocument/2006/relationships/slide" Target="slides/slide33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https://smccd-my.sharepoint.com/personal/engelk_smccd_edu/Documents/Admin/President's%20Office/President's%20Advisory%20Council/Graduate%20data%202021.xlsx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oleObject" Target="https://smccd-my.sharepoint.com/personal/engelk_smccd_edu/Documents/Admin/President's%20Office/President's%20Advisory%20Council/Graduate%20data%202021.xlsx" TargetMode="External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oleObject" Target="https://smccd-my.sharepoint.com/personal/engelk_smccd_edu/Documents/Admin/President's%20Office/President's%20Advisory%20Council/Graduate%20data%202021.xlsx" TargetMode="External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oleObject" Target="Book1" TargetMode="External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.xml"/><Relationship Id="rId2" Type="http://schemas.microsoft.com/office/2011/relationships/chartColorStyle" Target="colors5.xml"/><Relationship Id="rId1" Type="http://schemas.microsoft.com/office/2011/relationships/chartStyle" Target="style5.xml"/><Relationship Id="rId4" Type="http://schemas.openxmlformats.org/officeDocument/2006/relationships/oleObject" Target="../embeddings/oleObject1.bin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2.xml"/><Relationship Id="rId2" Type="http://schemas.microsoft.com/office/2011/relationships/chartColorStyle" Target="colors6.xml"/><Relationship Id="rId1" Type="http://schemas.microsoft.com/office/2011/relationships/chartStyle" Target="style6.xml"/><Relationship Id="rId4" Type="http://schemas.openxmlformats.org/officeDocument/2006/relationships/oleObject" Target="../embeddings/oleObject2.bin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3.xml"/><Relationship Id="rId2" Type="http://schemas.microsoft.com/office/2011/relationships/chartColorStyle" Target="colors7.xml"/><Relationship Id="rId1" Type="http://schemas.microsoft.com/office/2011/relationships/chartStyle" Target="style7.xml"/><Relationship Id="rId4" Type="http://schemas.openxmlformats.org/officeDocument/2006/relationships/oleObject" Target="../embeddings/oleObject3.bin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4.xml"/><Relationship Id="rId2" Type="http://schemas.microsoft.com/office/2011/relationships/chartColorStyle" Target="colors8.xml"/><Relationship Id="rId1" Type="http://schemas.microsoft.com/office/2011/relationships/chartStyle" Target="style8.xml"/><Relationship Id="rId4" Type="http://schemas.openxmlformats.org/officeDocument/2006/relationships/oleObject" Target="../embeddings/oleObject4.bin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5.xml"/><Relationship Id="rId2" Type="http://schemas.microsoft.com/office/2011/relationships/chartColorStyle" Target="colors9.xml"/><Relationship Id="rId1" Type="http://schemas.microsoft.com/office/2011/relationships/chartStyle" Target="style9.xml"/><Relationship Id="rId4" Type="http://schemas.openxmlformats.org/officeDocument/2006/relationships/oleObject" Target="../embeddings/oleObject5.bin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Sheet3!$K$62</c:f>
              <c:strCache>
                <c:ptCount val="1"/>
                <c:pt idx="0">
                  <c:v>Total Graduates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2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3!$J$63:$J$67</c:f>
              <c:strCache>
                <c:ptCount val="5"/>
                <c:pt idx="0">
                  <c:v>2016-17</c:v>
                </c:pt>
                <c:pt idx="1">
                  <c:v>2017-18</c:v>
                </c:pt>
                <c:pt idx="2">
                  <c:v>2018-19</c:v>
                </c:pt>
                <c:pt idx="3">
                  <c:v>2019-20</c:v>
                </c:pt>
                <c:pt idx="4">
                  <c:v>2020-21</c:v>
                </c:pt>
              </c:strCache>
            </c:strRef>
          </c:cat>
          <c:val>
            <c:numRef>
              <c:f>Sheet3!$K$63:$K$67</c:f>
              <c:numCache>
                <c:formatCode>General</c:formatCode>
                <c:ptCount val="5"/>
                <c:pt idx="0">
                  <c:v>566</c:v>
                </c:pt>
                <c:pt idx="1">
                  <c:v>563</c:v>
                </c:pt>
                <c:pt idx="2">
                  <c:v>528</c:v>
                </c:pt>
                <c:pt idx="3">
                  <c:v>51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FA27-4FBA-ACB6-F8745833EDEB}"/>
            </c:ext>
          </c:extLst>
        </c:ser>
        <c:ser>
          <c:idx val="1"/>
          <c:order val="1"/>
          <c:tx>
            <c:strRef>
              <c:f>Sheet3!$L$62</c:f>
              <c:strCache>
                <c:ptCount val="1"/>
                <c:pt idx="0">
                  <c:v>Forcast</c:v>
                </c:pt>
              </c:strCache>
            </c:strRef>
          </c:tx>
          <c:spPr>
            <a:ln w="28575" cap="rnd">
              <a:solidFill>
                <a:schemeClr val="accent2"/>
              </a:solidFill>
              <a:prstDash val="dash"/>
              <a:round/>
            </a:ln>
            <a:effectLst/>
          </c:spPr>
          <c:marker>
            <c:symbol val="none"/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2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3!$J$63:$J$67</c:f>
              <c:strCache>
                <c:ptCount val="5"/>
                <c:pt idx="0">
                  <c:v>2016-17</c:v>
                </c:pt>
                <c:pt idx="1">
                  <c:v>2017-18</c:v>
                </c:pt>
                <c:pt idx="2">
                  <c:v>2018-19</c:v>
                </c:pt>
                <c:pt idx="3">
                  <c:v>2019-20</c:v>
                </c:pt>
                <c:pt idx="4">
                  <c:v>2020-21</c:v>
                </c:pt>
              </c:strCache>
            </c:strRef>
          </c:cat>
          <c:val>
            <c:numRef>
              <c:f>Sheet3!$L$63:$L$67</c:f>
              <c:numCache>
                <c:formatCode>General</c:formatCode>
                <c:ptCount val="5"/>
                <c:pt idx="3">
                  <c:v>515</c:v>
                </c:pt>
                <c:pt idx="4">
                  <c:v>62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FA27-4FBA-ACB6-F8745833EDEB}"/>
            </c:ext>
          </c:extLst>
        </c:ser>
        <c:dLbls>
          <c:dLblPos val="t"/>
          <c:showLegendKey val="0"/>
          <c:showVal val="1"/>
          <c:showCatName val="0"/>
          <c:showSerName val="0"/>
          <c:showPercent val="0"/>
          <c:showBubbleSize val="0"/>
        </c:dLbls>
        <c:smooth val="0"/>
        <c:axId val="599702128"/>
        <c:axId val="599703376"/>
      </c:lineChart>
      <c:catAx>
        <c:axId val="59970212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2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99703376"/>
        <c:crosses val="autoZero"/>
        <c:auto val="1"/>
        <c:lblAlgn val="ctr"/>
        <c:lblOffset val="100"/>
        <c:noMultiLvlLbl val="0"/>
      </c:catAx>
      <c:valAx>
        <c:axId val="599703376"/>
        <c:scaling>
          <c:orientation val="minMax"/>
          <c:min val="100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2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9970212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2800"/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Sheet3!$K$43</c:f>
              <c:strCache>
                <c:ptCount val="1"/>
                <c:pt idx="0">
                  <c:v>Total Degrees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3!$J$44:$J$48</c:f>
              <c:strCache>
                <c:ptCount val="5"/>
                <c:pt idx="0">
                  <c:v>2016-17</c:v>
                </c:pt>
                <c:pt idx="1">
                  <c:v>2017-18</c:v>
                </c:pt>
                <c:pt idx="2">
                  <c:v>2018-19</c:v>
                </c:pt>
                <c:pt idx="3">
                  <c:v>2019-20</c:v>
                </c:pt>
                <c:pt idx="4">
                  <c:v>2020-21</c:v>
                </c:pt>
              </c:strCache>
            </c:strRef>
          </c:cat>
          <c:val>
            <c:numRef>
              <c:f>Sheet3!$K$44:$K$48</c:f>
              <c:numCache>
                <c:formatCode>General</c:formatCode>
                <c:ptCount val="5"/>
                <c:pt idx="0">
                  <c:v>589</c:v>
                </c:pt>
                <c:pt idx="1">
                  <c:v>569</c:v>
                </c:pt>
                <c:pt idx="2">
                  <c:v>630</c:v>
                </c:pt>
                <c:pt idx="3">
                  <c:v>62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300D-4859-9E62-18054F32FB00}"/>
            </c:ext>
          </c:extLst>
        </c:ser>
        <c:ser>
          <c:idx val="1"/>
          <c:order val="1"/>
          <c:tx>
            <c:strRef>
              <c:f>Sheet3!$L$43</c:f>
              <c:strCache>
                <c:ptCount val="1"/>
                <c:pt idx="0">
                  <c:v>Forcast</c:v>
                </c:pt>
              </c:strCache>
            </c:strRef>
          </c:tx>
          <c:spPr>
            <a:ln w="28575" cap="rnd">
              <a:solidFill>
                <a:schemeClr val="accent2"/>
              </a:solidFill>
              <a:prstDash val="dash"/>
              <a:round/>
            </a:ln>
            <a:effectLst/>
          </c:spPr>
          <c:marker>
            <c:symbol val="none"/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3!$J$44:$J$48</c:f>
              <c:strCache>
                <c:ptCount val="5"/>
                <c:pt idx="0">
                  <c:v>2016-17</c:v>
                </c:pt>
                <c:pt idx="1">
                  <c:v>2017-18</c:v>
                </c:pt>
                <c:pt idx="2">
                  <c:v>2018-19</c:v>
                </c:pt>
                <c:pt idx="3">
                  <c:v>2019-20</c:v>
                </c:pt>
                <c:pt idx="4">
                  <c:v>2020-21</c:v>
                </c:pt>
              </c:strCache>
            </c:strRef>
          </c:cat>
          <c:val>
            <c:numRef>
              <c:f>Sheet3!$L$44:$L$48</c:f>
              <c:numCache>
                <c:formatCode>General</c:formatCode>
                <c:ptCount val="5"/>
                <c:pt idx="3">
                  <c:v>623</c:v>
                </c:pt>
                <c:pt idx="4" formatCode="0">
                  <c:v>80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300D-4859-9E62-18054F32FB00}"/>
            </c:ext>
          </c:extLst>
        </c:ser>
        <c:dLbls>
          <c:dLblPos val="t"/>
          <c:showLegendKey val="0"/>
          <c:showVal val="1"/>
          <c:showCatName val="0"/>
          <c:showSerName val="0"/>
          <c:showPercent val="0"/>
          <c:showBubbleSize val="0"/>
        </c:dLbls>
        <c:smooth val="0"/>
        <c:axId val="1543415088"/>
        <c:axId val="1543407600"/>
      </c:lineChart>
      <c:catAx>
        <c:axId val="154341508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543407600"/>
        <c:crosses val="autoZero"/>
        <c:auto val="1"/>
        <c:lblAlgn val="ctr"/>
        <c:lblOffset val="100"/>
        <c:noMultiLvlLbl val="0"/>
      </c:catAx>
      <c:valAx>
        <c:axId val="1543407600"/>
        <c:scaling>
          <c:orientation val="minMax"/>
          <c:min val="200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54341508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800"/>
      </a:pPr>
      <a:endParaRPr lang="en-US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'[Graduate data 2021.xlsx]Sheet3'!$K$50</c:f>
              <c:strCache>
                <c:ptCount val="1"/>
                <c:pt idx="0">
                  <c:v>Total Certificates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[Graduate data 2021.xlsx]Sheet3'!$J$51:$J$55</c:f>
              <c:strCache>
                <c:ptCount val="5"/>
                <c:pt idx="0">
                  <c:v>2016-17</c:v>
                </c:pt>
                <c:pt idx="1">
                  <c:v>2017-18</c:v>
                </c:pt>
                <c:pt idx="2">
                  <c:v>2018-19</c:v>
                </c:pt>
                <c:pt idx="3">
                  <c:v>2019-20</c:v>
                </c:pt>
                <c:pt idx="4">
                  <c:v>2020-21</c:v>
                </c:pt>
              </c:strCache>
            </c:strRef>
          </c:cat>
          <c:val>
            <c:numRef>
              <c:f>'[Graduate data 2021.xlsx]Sheet3'!$K$51:$K$55</c:f>
              <c:numCache>
                <c:formatCode>General</c:formatCode>
                <c:ptCount val="5"/>
                <c:pt idx="0">
                  <c:v>302</c:v>
                </c:pt>
                <c:pt idx="1">
                  <c:v>373</c:v>
                </c:pt>
                <c:pt idx="2">
                  <c:v>289</c:v>
                </c:pt>
                <c:pt idx="3">
                  <c:v>25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FD28-4637-8C27-CB7372F3ACFD}"/>
            </c:ext>
          </c:extLst>
        </c:ser>
        <c:ser>
          <c:idx val="1"/>
          <c:order val="1"/>
          <c:tx>
            <c:strRef>
              <c:f>'[Graduate data 2021.xlsx]Sheet3'!$L$50</c:f>
              <c:strCache>
                <c:ptCount val="1"/>
                <c:pt idx="0">
                  <c:v>Forcast</c:v>
                </c:pt>
              </c:strCache>
            </c:strRef>
          </c:tx>
          <c:spPr>
            <a:ln w="28575" cap="rnd">
              <a:solidFill>
                <a:schemeClr val="accent2"/>
              </a:solidFill>
              <a:prstDash val="dash"/>
              <a:round/>
            </a:ln>
            <a:effectLst/>
          </c:spPr>
          <c:marker>
            <c:symbol val="none"/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[Graduate data 2021.xlsx]Sheet3'!$J$51:$J$55</c:f>
              <c:strCache>
                <c:ptCount val="5"/>
                <c:pt idx="0">
                  <c:v>2016-17</c:v>
                </c:pt>
                <c:pt idx="1">
                  <c:v>2017-18</c:v>
                </c:pt>
                <c:pt idx="2">
                  <c:v>2018-19</c:v>
                </c:pt>
                <c:pt idx="3">
                  <c:v>2019-20</c:v>
                </c:pt>
                <c:pt idx="4">
                  <c:v>2020-21</c:v>
                </c:pt>
              </c:strCache>
            </c:strRef>
          </c:cat>
          <c:val>
            <c:numRef>
              <c:f>'[Graduate data 2021.xlsx]Sheet3'!$L$51:$L$55</c:f>
              <c:numCache>
                <c:formatCode>General</c:formatCode>
                <c:ptCount val="5"/>
                <c:pt idx="3">
                  <c:v>259</c:v>
                </c:pt>
                <c:pt idx="4" formatCode="0">
                  <c:v>32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FD28-4637-8C27-CB7372F3ACFD}"/>
            </c:ext>
          </c:extLst>
        </c:ser>
        <c:dLbls>
          <c:dLblPos val="t"/>
          <c:showLegendKey val="0"/>
          <c:showVal val="1"/>
          <c:showCatName val="0"/>
          <c:showSerName val="0"/>
          <c:showPercent val="0"/>
          <c:showBubbleSize val="0"/>
        </c:dLbls>
        <c:smooth val="0"/>
        <c:axId val="1543396512"/>
        <c:axId val="1543400672"/>
      </c:lineChart>
      <c:catAx>
        <c:axId val="154339651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543400672"/>
        <c:crosses val="autoZero"/>
        <c:auto val="1"/>
        <c:lblAlgn val="ctr"/>
        <c:lblOffset val="100"/>
        <c:noMultiLvlLbl val="0"/>
      </c:catAx>
      <c:valAx>
        <c:axId val="1543400672"/>
        <c:scaling>
          <c:orientation val="minMax"/>
          <c:min val="100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54339651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800"/>
      </a:pPr>
      <a:endParaRPr lang="en-US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0"/>
          <c:order val="0"/>
          <c:spPr>
            <a:solidFill>
              <a:srgbClr val="006342"/>
            </a:solidFill>
          </c:spPr>
          <c:explosion val="6"/>
          <c:dPt>
            <c:idx val="0"/>
            <c:bubble3D val="0"/>
            <c:spPr>
              <a:solidFill>
                <a:srgbClr val="00634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DD0D-46C4-8D6D-F777C9414F69}"/>
              </c:ext>
            </c:extLst>
          </c:dPt>
          <c:dPt>
            <c:idx val="1"/>
            <c:bubble3D val="0"/>
            <c:spPr>
              <a:solidFill>
                <a:schemeClr val="bg1"/>
              </a:solidFill>
              <a:ln w="19050">
                <a:solidFill>
                  <a:srgbClr val="006342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DD0D-46C4-8D6D-F777C9414F69}"/>
              </c:ext>
            </c:extLst>
          </c:dPt>
          <c:dLbls>
            <c:dLbl>
              <c:idx val="0"/>
              <c:layout>
                <c:manualLayout>
                  <c:x val="4.3903142457548776E-2"/>
                  <c:y val="4.2360745442384051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6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3676337539606659"/>
                      <c:h val="0.48291249804317815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1-DD0D-46C4-8D6D-F777C9414F69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bestFit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val>
            <c:numRef>
              <c:f>Sheet1!$A$2:$B$2</c:f>
              <c:numCache>
                <c:formatCode>0%</c:formatCode>
                <c:ptCount val="2"/>
                <c:pt idx="0">
                  <c:v>0.2</c:v>
                </c:pt>
                <c:pt idx="1">
                  <c:v>0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DD0D-46C4-8D6D-F777C9414F69}"/>
            </c:ext>
          </c:extLst>
        </c:ser>
        <c:dLbls>
          <c:dLblPos val="bestFit"/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pieChart>
        <c:varyColors val="1"/>
        <c:ser>
          <c:idx val="0"/>
          <c:order val="0"/>
          <c:spPr>
            <a:solidFill>
              <a:srgbClr val="006342"/>
            </a:solidFill>
          </c:spPr>
          <c:explosion val="6"/>
          <c:dPt>
            <c:idx val="0"/>
            <c:bubble3D val="0"/>
            <c:spPr>
              <a:solidFill>
                <a:srgbClr val="00634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F2F9-4EDC-ADC6-707FF595B6C7}"/>
              </c:ext>
            </c:extLst>
          </c:dPt>
          <c:dPt>
            <c:idx val="1"/>
            <c:bubble3D val="0"/>
            <c:spPr>
              <a:solidFill>
                <a:sysClr val="window" lastClr="FFFFFF"/>
              </a:solidFill>
              <a:ln w="19050">
                <a:solidFill>
                  <a:srgbClr val="006342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F2F9-4EDC-ADC6-707FF595B6C7}"/>
              </c:ext>
            </c:extLst>
          </c:dPt>
          <c:dLbls>
            <c:dLbl>
              <c:idx val="0"/>
              <c:layout>
                <c:manualLayout>
                  <c:x val="4.126475501027297E-2"/>
                  <c:y val="-6.8528930456173309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6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2953016390496053"/>
                      <c:h val="0.3593617498440642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1-F2F9-4EDC-ADC6-707FF595B6C7}"/>
                </c:ext>
              </c:extLst>
            </c:dLbl>
            <c:dLbl>
              <c:idx val="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F2F9-4EDC-ADC6-707FF595B6C7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bestFit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val>
            <c:numRef>
              <c:f>'[Percentage complete diagrams.xlsx]Sheet1'!$A$2:$B$2</c:f>
              <c:numCache>
                <c:formatCode>0%</c:formatCode>
                <c:ptCount val="2"/>
                <c:pt idx="0">
                  <c:v>0.4</c:v>
                </c:pt>
                <c:pt idx="1">
                  <c:v>0.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F2F9-4EDC-ADC6-707FF595B6C7}"/>
            </c:ext>
          </c:extLst>
        </c:ser>
        <c:dLbls>
          <c:dLblPos val="bestFit"/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pieChart>
        <c:varyColors val="1"/>
        <c:ser>
          <c:idx val="0"/>
          <c:order val="0"/>
          <c:spPr>
            <a:solidFill>
              <a:srgbClr val="006342"/>
            </a:solidFill>
          </c:spPr>
          <c:explosion val="6"/>
          <c:dPt>
            <c:idx val="0"/>
            <c:bubble3D val="0"/>
            <c:spPr>
              <a:solidFill>
                <a:srgbClr val="00634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B789-4A49-BA9C-39A3FE9F840B}"/>
              </c:ext>
            </c:extLst>
          </c:dPt>
          <c:dPt>
            <c:idx val="1"/>
            <c:bubble3D val="0"/>
            <c:spPr>
              <a:solidFill>
                <a:sysClr val="window" lastClr="FFFFFF"/>
              </a:solidFill>
              <a:ln w="19050">
                <a:solidFill>
                  <a:srgbClr val="006342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B789-4A49-BA9C-39A3FE9F840B}"/>
              </c:ext>
            </c:extLst>
          </c:dPt>
          <c:dLbls>
            <c:dLbl>
              <c:idx val="0"/>
              <c:layout>
                <c:manualLayout>
                  <c:x val="4.1305067635776301E-2"/>
                  <c:y val="-6.8529634632491024E-2"/>
                </c:manualLayout>
              </c:layout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3480000000000001"/>
                      <c:h val="0.44507936507936507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1-B789-4A49-BA9C-39A3FE9F840B}"/>
                </c:ext>
              </c:extLst>
            </c:dLbl>
            <c:dLbl>
              <c:idx val="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B789-4A49-BA9C-39A3FE9F840B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6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bestFit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val>
            <c:numRef>
              <c:f>'[Percentage complete diagrams.xlsx]Sheet1'!$A$2:$B$2</c:f>
              <c:numCache>
                <c:formatCode>0%</c:formatCode>
                <c:ptCount val="2"/>
                <c:pt idx="0">
                  <c:v>0.5</c:v>
                </c:pt>
                <c:pt idx="1">
                  <c:v>0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B789-4A49-BA9C-39A3FE9F840B}"/>
            </c:ext>
          </c:extLst>
        </c:ser>
        <c:dLbls>
          <c:dLblPos val="bestFit"/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600">
          <a:solidFill>
            <a:schemeClr val="bg1"/>
          </a:solidFill>
        </a:defRPr>
      </a:pPr>
      <a:endParaRPr lang="en-US"/>
    </a:p>
  </c:txPr>
  <c:externalData r:id="rId4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pieChart>
        <c:varyColors val="1"/>
        <c:ser>
          <c:idx val="0"/>
          <c:order val="0"/>
          <c:spPr>
            <a:solidFill>
              <a:srgbClr val="006342"/>
            </a:solidFill>
          </c:spPr>
          <c:explosion val="6"/>
          <c:dPt>
            <c:idx val="0"/>
            <c:bubble3D val="0"/>
            <c:spPr>
              <a:solidFill>
                <a:srgbClr val="00634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B58E-40AF-B6FB-AEFEDF9CB1C7}"/>
              </c:ext>
            </c:extLst>
          </c:dPt>
          <c:dPt>
            <c:idx val="1"/>
            <c:bubble3D val="0"/>
            <c:spPr>
              <a:solidFill>
                <a:sysClr val="window" lastClr="FFFFFF"/>
              </a:solidFill>
              <a:ln w="19050">
                <a:solidFill>
                  <a:srgbClr val="006342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B58E-40AF-B6FB-AEFEDF9CB1C7}"/>
              </c:ext>
            </c:extLst>
          </c:dPt>
          <c:dLbls>
            <c:dLbl>
              <c:idx val="0"/>
              <c:layout>
                <c:manualLayout>
                  <c:x val="4.126475501027297E-2"/>
                  <c:y val="-6.8528930456173309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6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2953016390496053"/>
                      <c:h val="0.3593617498440642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1-B58E-40AF-B6FB-AEFEDF9CB1C7}"/>
                </c:ext>
              </c:extLst>
            </c:dLbl>
            <c:dLbl>
              <c:idx val="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B58E-40AF-B6FB-AEFEDF9CB1C7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bestFit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val>
            <c:numRef>
              <c:f>'[Percentage complete diagrams.xlsx]Sheet1'!$A$2:$B$2</c:f>
              <c:numCache>
                <c:formatCode>0%</c:formatCode>
                <c:ptCount val="2"/>
                <c:pt idx="0">
                  <c:v>0.4</c:v>
                </c:pt>
                <c:pt idx="1">
                  <c:v>0.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B58E-40AF-B6FB-AEFEDF9CB1C7}"/>
            </c:ext>
          </c:extLst>
        </c:ser>
        <c:dLbls>
          <c:dLblPos val="bestFit"/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pieChart>
        <c:varyColors val="1"/>
        <c:ser>
          <c:idx val="0"/>
          <c:order val="0"/>
          <c:spPr>
            <a:solidFill>
              <a:srgbClr val="006342"/>
            </a:solidFill>
          </c:spPr>
          <c:explosion val="6"/>
          <c:dPt>
            <c:idx val="0"/>
            <c:bubble3D val="0"/>
            <c:spPr>
              <a:solidFill>
                <a:srgbClr val="00634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B1E9-46DA-8225-3B2DDE29D7F2}"/>
              </c:ext>
            </c:extLst>
          </c:dPt>
          <c:dPt>
            <c:idx val="1"/>
            <c:bubble3D val="0"/>
            <c:spPr>
              <a:solidFill>
                <a:sysClr val="window" lastClr="FFFFFF"/>
              </a:solidFill>
              <a:ln w="19050">
                <a:solidFill>
                  <a:srgbClr val="006342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B1E9-46DA-8225-3B2DDE29D7F2}"/>
              </c:ext>
            </c:extLst>
          </c:dPt>
          <c:dLbls>
            <c:dLbl>
              <c:idx val="0"/>
              <c:layout>
                <c:manualLayout>
                  <c:x val="4.126475501027297E-2"/>
                  <c:y val="-6.8528930456173309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6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2953016390496053"/>
                      <c:h val="0.3593617498440642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1-B1E9-46DA-8225-3B2DDE29D7F2}"/>
                </c:ext>
              </c:extLst>
            </c:dLbl>
            <c:dLbl>
              <c:idx val="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B1E9-46DA-8225-3B2DDE29D7F2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bestFit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val>
            <c:numRef>
              <c:f>'[Percentage complete diagrams.xlsx]Sheet1'!$A$2:$B$2</c:f>
              <c:numCache>
                <c:formatCode>0%</c:formatCode>
                <c:ptCount val="2"/>
                <c:pt idx="0">
                  <c:v>0.4</c:v>
                </c:pt>
                <c:pt idx="1">
                  <c:v>0.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B1E9-46DA-8225-3B2DDE29D7F2}"/>
            </c:ext>
          </c:extLst>
        </c:ser>
        <c:dLbls>
          <c:dLblPos val="bestFit"/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pieChart>
        <c:varyColors val="1"/>
        <c:ser>
          <c:idx val="0"/>
          <c:order val="0"/>
          <c:spPr>
            <a:solidFill>
              <a:srgbClr val="006342"/>
            </a:solidFill>
          </c:spPr>
          <c:explosion val="6"/>
          <c:dPt>
            <c:idx val="0"/>
            <c:bubble3D val="0"/>
            <c:spPr>
              <a:solidFill>
                <a:srgbClr val="00634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DF34-4672-A052-DD1C64EA7088}"/>
              </c:ext>
            </c:extLst>
          </c:dPt>
          <c:dPt>
            <c:idx val="1"/>
            <c:bubble3D val="0"/>
            <c:spPr>
              <a:solidFill>
                <a:sysClr val="window" lastClr="FFFFFF"/>
              </a:solidFill>
              <a:ln w="19050">
                <a:solidFill>
                  <a:srgbClr val="006342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DF34-4672-A052-DD1C64EA7088}"/>
              </c:ext>
            </c:extLst>
          </c:dPt>
          <c:dLbls>
            <c:dLbl>
              <c:idx val="0"/>
              <c:layout>
                <c:manualLayout>
                  <c:x val="4.126475501027297E-2"/>
                  <c:y val="-6.8528930456173309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6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2953016390496053"/>
                      <c:h val="0.3593617498440642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1-DF34-4672-A052-DD1C64EA7088}"/>
                </c:ext>
              </c:extLst>
            </c:dLbl>
            <c:dLbl>
              <c:idx val="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DF34-4672-A052-DD1C64EA7088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bestFit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val>
            <c:numRef>
              <c:f>'[Percentage complete diagrams.xlsx]Sheet1'!$A$2:$B$2</c:f>
              <c:numCache>
                <c:formatCode>0%</c:formatCode>
                <c:ptCount val="2"/>
                <c:pt idx="0">
                  <c:v>0.4</c:v>
                </c:pt>
                <c:pt idx="1">
                  <c:v>0.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DF34-4672-A052-DD1C64EA7088}"/>
            </c:ext>
          </c:extLst>
        </c:ser>
        <c:dLbls>
          <c:dLblPos val="bestFit"/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5">
  <dgm:title val=""/>
  <dgm:desc val=""/>
  <dgm:catLst>
    <dgm:cat type="colorful" pri="105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/>
      <a:schemeClr val="accent6"/>
    </dgm:fillClrLst>
    <dgm:linClrLst>
      <a:schemeClr val="accent5"/>
      <a:schemeClr val="accent6"/>
    </dgm:linClrLst>
    <dgm:effectClrLst/>
    <dgm:txLinClrLst/>
    <dgm:txFillClrLst/>
    <dgm:txEffectClrLst/>
  </dgm:styleLbl>
  <dgm:styleLbl name="ln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B2ED39F8-5584-484C-A85E-CA38DFF61CFA}" type="doc">
      <dgm:prSet loTypeId="urn:microsoft.com/office/officeart/2005/8/layout/vList5" loCatId="list" qsTypeId="urn:microsoft.com/office/officeart/2005/8/quickstyle/simple1" qsCatId="simple" csTypeId="urn:microsoft.com/office/officeart/2005/8/colors/colorful5" csCatId="colorful" phldr="1"/>
      <dgm:spPr/>
      <dgm:t>
        <a:bodyPr/>
        <a:lstStyle/>
        <a:p>
          <a:endParaRPr lang="en-US"/>
        </a:p>
      </dgm:t>
    </dgm:pt>
    <dgm:pt modelId="{7A5BBE2B-DF20-4E8D-8250-A00E544F18B0}">
      <dgm:prSet phldrT="[Text]"/>
      <dgm:spPr/>
      <dgm:t>
        <a:bodyPr/>
        <a:lstStyle/>
        <a:p>
          <a:r>
            <a:rPr lang="en-US" dirty="0" smtClean="0"/>
            <a:t>Improve our internal policies and processes</a:t>
          </a:r>
          <a:endParaRPr lang="en-US" dirty="0"/>
        </a:p>
      </dgm:t>
    </dgm:pt>
    <dgm:pt modelId="{6D24CE05-704B-4B08-849C-9289059898E1}" type="parTrans" cxnId="{133D8B0F-B225-49DF-8FD0-A83E8C93690C}">
      <dgm:prSet/>
      <dgm:spPr/>
      <dgm:t>
        <a:bodyPr/>
        <a:lstStyle/>
        <a:p>
          <a:endParaRPr lang="en-US"/>
        </a:p>
      </dgm:t>
    </dgm:pt>
    <dgm:pt modelId="{6C43B46B-4968-4DDD-A8AD-6CF7A7242391}" type="sibTrans" cxnId="{133D8B0F-B225-49DF-8FD0-A83E8C93690C}">
      <dgm:prSet/>
      <dgm:spPr/>
      <dgm:t>
        <a:bodyPr/>
        <a:lstStyle/>
        <a:p>
          <a:endParaRPr lang="en-US"/>
        </a:p>
      </dgm:t>
    </dgm:pt>
    <dgm:pt modelId="{568C5355-370A-49E5-977B-B373E6A570D8}">
      <dgm:prSet phldrT="[Text]"/>
      <dgm:spPr/>
      <dgm:t>
        <a:bodyPr/>
        <a:lstStyle/>
        <a:p>
          <a:r>
            <a:rPr lang="en-US" b="0" i="0" dirty="0" smtClean="0"/>
            <a:t>Promote a climate of inclusivity</a:t>
          </a:r>
          <a:endParaRPr lang="en-US" dirty="0"/>
        </a:p>
      </dgm:t>
    </dgm:pt>
    <dgm:pt modelId="{1DEEF5EC-3953-4AA7-9330-56CA4902C7C9}" type="parTrans" cxnId="{6F8DF73D-8AE0-4A77-8447-ED34993C2D40}">
      <dgm:prSet/>
      <dgm:spPr/>
      <dgm:t>
        <a:bodyPr/>
        <a:lstStyle/>
        <a:p>
          <a:endParaRPr lang="en-US"/>
        </a:p>
      </dgm:t>
    </dgm:pt>
    <dgm:pt modelId="{27CB6870-2A6C-43D5-9102-ACA11007E65D}" type="sibTrans" cxnId="{6F8DF73D-8AE0-4A77-8447-ED34993C2D40}">
      <dgm:prSet/>
      <dgm:spPr/>
      <dgm:t>
        <a:bodyPr/>
        <a:lstStyle/>
        <a:p>
          <a:endParaRPr lang="en-US"/>
        </a:p>
      </dgm:t>
    </dgm:pt>
    <dgm:pt modelId="{9A79E536-BFC7-411C-85CA-D73138C5863B}">
      <dgm:prSet phldrT="[Text]"/>
      <dgm:spPr/>
      <dgm:t>
        <a:bodyPr/>
        <a:lstStyle/>
        <a:p>
          <a:r>
            <a:rPr lang="en-US" b="0" i="0" dirty="0" smtClean="0"/>
            <a:t>Institutionalize effective structures to reduce obligation gaps</a:t>
          </a:r>
          <a:endParaRPr lang="en-US" dirty="0"/>
        </a:p>
      </dgm:t>
    </dgm:pt>
    <dgm:pt modelId="{EC1AB788-DA26-4EF3-B3A1-5A0681B49FA9}" type="parTrans" cxnId="{D2781892-1FF0-44F3-9D28-257BC1D53330}">
      <dgm:prSet/>
      <dgm:spPr/>
      <dgm:t>
        <a:bodyPr/>
        <a:lstStyle/>
        <a:p>
          <a:endParaRPr lang="en-US"/>
        </a:p>
      </dgm:t>
    </dgm:pt>
    <dgm:pt modelId="{CB0BB819-0F3A-4A20-B0AC-9389C5502A80}" type="sibTrans" cxnId="{D2781892-1FF0-44F3-9D28-257BC1D53330}">
      <dgm:prSet/>
      <dgm:spPr/>
      <dgm:t>
        <a:bodyPr/>
        <a:lstStyle/>
        <a:p>
          <a:endParaRPr lang="en-US"/>
        </a:p>
      </dgm:t>
    </dgm:pt>
    <dgm:pt modelId="{6AB1E712-B2CB-4512-8B6D-49D4E3A68959}">
      <dgm:prSet phldrT="[Text]"/>
      <dgm:spPr/>
      <dgm:t>
        <a:bodyPr/>
        <a:lstStyle/>
        <a:p>
          <a:r>
            <a:rPr lang="en-US" dirty="0" smtClean="0"/>
            <a:t>Fully implement all aspects of Guided Pathways</a:t>
          </a:r>
          <a:endParaRPr lang="en-US" dirty="0"/>
        </a:p>
      </dgm:t>
    </dgm:pt>
    <dgm:pt modelId="{94DDB41C-F908-48D8-A780-658F9C2B4D94}" type="parTrans" cxnId="{AF036D21-7AB8-48FD-9A0F-1EF449CF3C55}">
      <dgm:prSet/>
      <dgm:spPr/>
      <dgm:t>
        <a:bodyPr/>
        <a:lstStyle/>
        <a:p>
          <a:endParaRPr lang="en-US"/>
        </a:p>
      </dgm:t>
    </dgm:pt>
    <dgm:pt modelId="{8C90986D-7F28-4F48-B323-8250DA7CC4CF}" type="sibTrans" cxnId="{AF036D21-7AB8-48FD-9A0F-1EF449CF3C55}">
      <dgm:prSet/>
      <dgm:spPr/>
      <dgm:t>
        <a:bodyPr/>
        <a:lstStyle/>
        <a:p>
          <a:endParaRPr lang="en-US"/>
        </a:p>
      </dgm:t>
    </dgm:pt>
    <dgm:pt modelId="{2897B012-8FA3-4075-99CF-FD732C61839C}">
      <dgm:prSet phldrT="[Text]"/>
      <dgm:spPr/>
      <dgm:t>
        <a:bodyPr/>
        <a:lstStyle/>
        <a:p>
          <a:r>
            <a:rPr lang="en-US" dirty="0" smtClean="0"/>
            <a:t>Implement Guided Pathways</a:t>
          </a:r>
          <a:endParaRPr lang="en-US" dirty="0"/>
        </a:p>
      </dgm:t>
    </dgm:pt>
    <dgm:pt modelId="{791DE447-DAC4-4926-A382-1960ED4A2C97}" type="parTrans" cxnId="{4A264426-667B-4885-9B57-E04B17E54D4A}">
      <dgm:prSet/>
      <dgm:spPr/>
      <dgm:t>
        <a:bodyPr/>
        <a:lstStyle/>
        <a:p>
          <a:endParaRPr lang="en-US"/>
        </a:p>
      </dgm:t>
    </dgm:pt>
    <dgm:pt modelId="{D48E467A-EEA3-4E8E-8BF7-CA82E71A2F68}" type="sibTrans" cxnId="{4A264426-667B-4885-9B57-E04B17E54D4A}">
      <dgm:prSet/>
      <dgm:spPr/>
      <dgm:t>
        <a:bodyPr/>
        <a:lstStyle/>
        <a:p>
          <a:endParaRPr lang="en-US"/>
        </a:p>
      </dgm:t>
    </dgm:pt>
    <dgm:pt modelId="{BC1927B9-9939-42A1-BDBF-25CA1860458B}">
      <dgm:prSet phldrT="[Text]"/>
      <dgm:spPr/>
      <dgm:t>
        <a:bodyPr/>
        <a:lstStyle/>
        <a:p>
          <a:r>
            <a:rPr lang="en-US" dirty="0" smtClean="0"/>
            <a:t>Develop clear pathways</a:t>
          </a:r>
          <a:endParaRPr lang="en-US" dirty="0"/>
        </a:p>
      </dgm:t>
    </dgm:pt>
    <dgm:pt modelId="{380BCC2B-92FF-44A5-A94A-B7957E2C202A}" type="parTrans" cxnId="{CECFF5EE-BA5D-4F7E-AB27-1E704F335E0C}">
      <dgm:prSet/>
      <dgm:spPr/>
      <dgm:t>
        <a:bodyPr/>
        <a:lstStyle/>
        <a:p>
          <a:endParaRPr lang="en-US"/>
        </a:p>
      </dgm:t>
    </dgm:pt>
    <dgm:pt modelId="{07D68B8B-D739-4C3D-9E8D-A46FB7D7AC93}" type="sibTrans" cxnId="{CECFF5EE-BA5D-4F7E-AB27-1E704F335E0C}">
      <dgm:prSet/>
      <dgm:spPr/>
      <dgm:t>
        <a:bodyPr/>
        <a:lstStyle/>
        <a:p>
          <a:endParaRPr lang="en-US"/>
        </a:p>
      </dgm:t>
    </dgm:pt>
    <dgm:pt modelId="{8C3E2433-6992-4FF5-8BB4-F40885E80699}">
      <dgm:prSet phldrT="[Text]"/>
      <dgm:spPr/>
      <dgm:t>
        <a:bodyPr/>
        <a:lstStyle/>
        <a:p>
          <a:r>
            <a:rPr lang="en-US" dirty="0" smtClean="0"/>
            <a:t>Focus on key aspects of strategic enrollment management to enhance equity in access and completion</a:t>
          </a:r>
          <a:endParaRPr lang="en-US" dirty="0"/>
        </a:p>
      </dgm:t>
    </dgm:pt>
    <dgm:pt modelId="{4D766B01-D05B-49F8-9104-CBE6128E2C54}" type="parTrans" cxnId="{255B9B11-FEA0-40BA-8DF7-10195C55341C}">
      <dgm:prSet/>
      <dgm:spPr/>
      <dgm:t>
        <a:bodyPr/>
        <a:lstStyle/>
        <a:p>
          <a:endParaRPr lang="en-US"/>
        </a:p>
      </dgm:t>
    </dgm:pt>
    <dgm:pt modelId="{FF862E54-6E57-4B16-A3EA-B5936AA84F5F}" type="sibTrans" cxnId="{255B9B11-FEA0-40BA-8DF7-10195C55341C}">
      <dgm:prSet/>
      <dgm:spPr/>
      <dgm:t>
        <a:bodyPr/>
        <a:lstStyle/>
        <a:p>
          <a:endParaRPr lang="en-US"/>
        </a:p>
      </dgm:t>
    </dgm:pt>
    <dgm:pt modelId="{256ACB66-33CF-4A98-8D36-3C465E9FE972}">
      <dgm:prSet phldrT="[Text]"/>
      <dgm:spPr/>
      <dgm:t>
        <a:bodyPr/>
        <a:lstStyle/>
        <a:p>
          <a:r>
            <a:rPr lang="en-US" dirty="0" smtClean="0"/>
            <a:t>Improve student completion</a:t>
          </a:r>
          <a:endParaRPr lang="en-US" dirty="0"/>
        </a:p>
      </dgm:t>
    </dgm:pt>
    <dgm:pt modelId="{4DF938E1-251C-462B-AC8A-7A204B08A7AF}" type="parTrans" cxnId="{D9798DAF-AC15-41AB-8503-D652C6057FAB}">
      <dgm:prSet/>
      <dgm:spPr/>
      <dgm:t>
        <a:bodyPr/>
        <a:lstStyle/>
        <a:p>
          <a:endParaRPr lang="en-US"/>
        </a:p>
      </dgm:t>
    </dgm:pt>
    <dgm:pt modelId="{23758944-3D84-41AE-9E6F-AD24CA6BB190}" type="sibTrans" cxnId="{D9798DAF-AC15-41AB-8503-D652C6057FAB}">
      <dgm:prSet/>
      <dgm:spPr/>
      <dgm:t>
        <a:bodyPr/>
        <a:lstStyle/>
        <a:p>
          <a:endParaRPr lang="en-US"/>
        </a:p>
      </dgm:t>
    </dgm:pt>
    <dgm:pt modelId="{9429F731-435E-4646-9B0D-F034B6E7FE5C}">
      <dgm:prSet phldrT="[Text]"/>
      <dgm:spPr/>
      <dgm:t>
        <a:bodyPr/>
        <a:lstStyle/>
        <a:p>
          <a:r>
            <a:rPr lang="en-US" dirty="0" smtClean="0"/>
            <a:t>Institutionalize effective structures to reduce obligation gaps</a:t>
          </a:r>
          <a:endParaRPr lang="en-US" dirty="0"/>
        </a:p>
      </dgm:t>
    </dgm:pt>
    <dgm:pt modelId="{288CC1C7-A65D-445F-B69B-F399F6452D43}" type="parTrans" cxnId="{996B74E6-5CB5-4DF5-84D5-39E2ECC0B24C}">
      <dgm:prSet/>
      <dgm:spPr/>
      <dgm:t>
        <a:bodyPr/>
        <a:lstStyle/>
        <a:p>
          <a:endParaRPr lang="en-US"/>
        </a:p>
      </dgm:t>
    </dgm:pt>
    <dgm:pt modelId="{9D3F3DCB-2747-47DC-A4DD-CCA1732E94C2}" type="sibTrans" cxnId="{996B74E6-5CB5-4DF5-84D5-39E2ECC0B24C}">
      <dgm:prSet/>
      <dgm:spPr/>
      <dgm:t>
        <a:bodyPr/>
        <a:lstStyle/>
        <a:p>
          <a:endParaRPr lang="en-US"/>
        </a:p>
      </dgm:t>
    </dgm:pt>
    <dgm:pt modelId="{E4CD1447-E9AD-44D2-BB2B-29961DA0B852}">
      <dgm:prSet phldrT="[Text]"/>
      <dgm:spPr/>
      <dgm:t>
        <a:bodyPr/>
        <a:lstStyle/>
        <a:p>
          <a:r>
            <a:rPr lang="en-US" b="0" i="0" dirty="0" smtClean="0"/>
            <a:t>Implement professional learning plan</a:t>
          </a:r>
          <a:endParaRPr lang="en-US" dirty="0"/>
        </a:p>
      </dgm:t>
    </dgm:pt>
    <dgm:pt modelId="{981763B0-CCAA-43C3-82C0-708609DD12AB}" type="parTrans" cxnId="{4347D9F6-990D-4131-894E-D0E7F271A6CC}">
      <dgm:prSet/>
      <dgm:spPr/>
      <dgm:t>
        <a:bodyPr/>
        <a:lstStyle/>
        <a:p>
          <a:endParaRPr lang="en-US"/>
        </a:p>
      </dgm:t>
    </dgm:pt>
    <dgm:pt modelId="{EBA2CD8D-5E66-4598-867D-B784D7D1CBD6}" type="sibTrans" cxnId="{4347D9F6-990D-4131-894E-D0E7F271A6CC}">
      <dgm:prSet/>
      <dgm:spPr/>
      <dgm:t>
        <a:bodyPr/>
        <a:lstStyle/>
        <a:p>
          <a:endParaRPr lang="en-US"/>
        </a:p>
      </dgm:t>
    </dgm:pt>
    <dgm:pt modelId="{17A24862-4930-4745-953B-ABB77194C4E3}">
      <dgm:prSet phldrT="[Text]"/>
      <dgm:spPr/>
      <dgm:t>
        <a:bodyPr/>
        <a:lstStyle/>
        <a:p>
          <a:r>
            <a:rPr lang="en-US" dirty="0" smtClean="0"/>
            <a:t>Improve student completion</a:t>
          </a:r>
          <a:endParaRPr lang="en-US" dirty="0"/>
        </a:p>
      </dgm:t>
    </dgm:pt>
    <dgm:pt modelId="{D04ECD0A-3393-4D41-9058-B3CC99323D0D}" type="parTrans" cxnId="{DD91AD4F-A44E-42C2-91F6-5C168463DD32}">
      <dgm:prSet/>
      <dgm:spPr/>
      <dgm:t>
        <a:bodyPr/>
        <a:lstStyle/>
        <a:p>
          <a:endParaRPr lang="en-US"/>
        </a:p>
      </dgm:t>
    </dgm:pt>
    <dgm:pt modelId="{A9A41DA7-6641-4B3F-B4DF-F84B468F00D6}" type="sibTrans" cxnId="{DD91AD4F-A44E-42C2-91F6-5C168463DD32}">
      <dgm:prSet/>
      <dgm:spPr/>
      <dgm:t>
        <a:bodyPr/>
        <a:lstStyle/>
        <a:p>
          <a:endParaRPr lang="en-US"/>
        </a:p>
      </dgm:t>
    </dgm:pt>
    <dgm:pt modelId="{15867C4B-05B0-4076-BACB-D4DC64AB68E9}">
      <dgm:prSet phldrT="[Text]"/>
      <dgm:spPr/>
      <dgm:t>
        <a:bodyPr/>
        <a:lstStyle/>
        <a:p>
          <a:r>
            <a:rPr lang="en-US" dirty="0" smtClean="0"/>
            <a:t>K-12 &amp; Adult School partnerships; Partner with 4-year colleges &amp; universities</a:t>
          </a:r>
          <a:endParaRPr lang="en-US" dirty="0"/>
        </a:p>
      </dgm:t>
    </dgm:pt>
    <dgm:pt modelId="{4C045927-84E5-4FBF-B9B9-95BF6A0D88D1}" type="parTrans" cxnId="{B1AA099D-7470-4781-B639-ED4D1FD4B3DD}">
      <dgm:prSet/>
      <dgm:spPr/>
      <dgm:t>
        <a:bodyPr/>
        <a:lstStyle/>
        <a:p>
          <a:endParaRPr lang="en-US"/>
        </a:p>
      </dgm:t>
    </dgm:pt>
    <dgm:pt modelId="{FD63F346-65A4-4CFA-995D-87CEE374FC99}" type="sibTrans" cxnId="{B1AA099D-7470-4781-B639-ED4D1FD4B3DD}">
      <dgm:prSet/>
      <dgm:spPr/>
      <dgm:t>
        <a:bodyPr/>
        <a:lstStyle/>
        <a:p>
          <a:endParaRPr lang="en-US"/>
        </a:p>
      </dgm:t>
    </dgm:pt>
    <dgm:pt modelId="{681DAAD8-5030-41DE-94AA-3D5F2B6F2AE2}">
      <dgm:prSet phldrT="[Text]"/>
      <dgm:spPr/>
      <dgm:t>
        <a:bodyPr/>
        <a:lstStyle/>
        <a:p>
          <a:r>
            <a:rPr lang="en-US" b="0" i="0" dirty="0" smtClean="0"/>
            <a:t>Institutionalize effective structures to reduce obligation gaps</a:t>
          </a:r>
          <a:endParaRPr lang="en-US" dirty="0"/>
        </a:p>
      </dgm:t>
    </dgm:pt>
    <dgm:pt modelId="{C28948FA-E0E5-4930-905E-DA68ACED3D4C}" type="parTrans" cxnId="{678C50DD-E572-4C27-A6C9-A729A39EC86C}">
      <dgm:prSet/>
      <dgm:spPr/>
      <dgm:t>
        <a:bodyPr/>
        <a:lstStyle/>
        <a:p>
          <a:endParaRPr lang="en-US"/>
        </a:p>
      </dgm:t>
    </dgm:pt>
    <dgm:pt modelId="{69D23267-0415-4F6B-8C1C-2E9533EBF9E4}" type="sibTrans" cxnId="{678C50DD-E572-4C27-A6C9-A729A39EC86C}">
      <dgm:prSet/>
      <dgm:spPr/>
      <dgm:t>
        <a:bodyPr/>
        <a:lstStyle/>
        <a:p>
          <a:endParaRPr lang="en-US"/>
        </a:p>
      </dgm:t>
    </dgm:pt>
    <dgm:pt modelId="{7D74394E-AA13-4B53-B731-BE310F4563AB}">
      <dgm:prSet phldrT="[Text]"/>
      <dgm:spPr/>
      <dgm:t>
        <a:bodyPr/>
        <a:lstStyle/>
        <a:p>
          <a:r>
            <a:rPr lang="en-US" b="0" i="0" dirty="0" smtClean="0"/>
            <a:t>Create process for innovation</a:t>
          </a:r>
          <a:endParaRPr lang="en-US" dirty="0"/>
        </a:p>
      </dgm:t>
    </dgm:pt>
    <dgm:pt modelId="{14130EEC-3B60-48BA-9BCD-593E0C16B17F}" type="parTrans" cxnId="{60C60759-E9DF-41A5-8E9C-280E5F8F9DD7}">
      <dgm:prSet/>
      <dgm:spPr/>
      <dgm:t>
        <a:bodyPr/>
        <a:lstStyle/>
        <a:p>
          <a:endParaRPr lang="en-US"/>
        </a:p>
      </dgm:t>
    </dgm:pt>
    <dgm:pt modelId="{E5C0364D-5A22-48BA-B175-3816AD73BAB1}" type="sibTrans" cxnId="{60C60759-E9DF-41A5-8E9C-280E5F8F9DD7}">
      <dgm:prSet/>
      <dgm:spPr/>
      <dgm:t>
        <a:bodyPr/>
        <a:lstStyle/>
        <a:p>
          <a:endParaRPr lang="en-US"/>
        </a:p>
      </dgm:t>
    </dgm:pt>
    <dgm:pt modelId="{380D813A-DE0E-4ACC-AB21-CC6CCE2E48FA}">
      <dgm:prSet phldrT="[Text]"/>
      <dgm:spPr/>
      <dgm:t>
        <a:bodyPr/>
        <a:lstStyle/>
        <a:p>
          <a:r>
            <a:rPr lang="en-US" dirty="0" smtClean="0"/>
            <a:t>Connect students with Internships, </a:t>
          </a:r>
          <a:r>
            <a:rPr lang="en-US" dirty="0" err="1" smtClean="0"/>
            <a:t>etc</a:t>
          </a:r>
          <a:r>
            <a:rPr lang="en-US" dirty="0" smtClean="0"/>
            <a:t>; Build relationships with employers</a:t>
          </a:r>
          <a:endParaRPr lang="en-US" dirty="0"/>
        </a:p>
      </dgm:t>
    </dgm:pt>
    <dgm:pt modelId="{F4857C68-B5CE-4038-A2E8-A10A956D4A1E}" type="parTrans" cxnId="{FC906815-CCC8-4710-A1F8-BE9B89C2F52B}">
      <dgm:prSet/>
      <dgm:spPr/>
      <dgm:t>
        <a:bodyPr/>
        <a:lstStyle/>
        <a:p>
          <a:endParaRPr lang="en-US"/>
        </a:p>
      </dgm:t>
    </dgm:pt>
    <dgm:pt modelId="{18333547-A330-41BF-9827-D1B27164720F}" type="sibTrans" cxnId="{FC906815-CCC8-4710-A1F8-BE9B89C2F52B}">
      <dgm:prSet/>
      <dgm:spPr/>
      <dgm:t>
        <a:bodyPr/>
        <a:lstStyle/>
        <a:p>
          <a:endParaRPr lang="en-US"/>
        </a:p>
      </dgm:t>
    </dgm:pt>
    <dgm:pt modelId="{5928D5AA-2DC9-4FE5-90D5-BD61360488B4}" type="pres">
      <dgm:prSet presAssocID="{B2ED39F8-5584-484C-A85E-CA38DFF61CFA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4E44A90A-E4D3-4ABE-A6E2-86E2B576F9BD}" type="pres">
      <dgm:prSet presAssocID="{7A5BBE2B-DF20-4E8D-8250-A00E544F18B0}" presName="linNode" presStyleCnt="0"/>
      <dgm:spPr/>
      <dgm:t>
        <a:bodyPr/>
        <a:lstStyle/>
        <a:p>
          <a:endParaRPr lang="en-US"/>
        </a:p>
      </dgm:t>
    </dgm:pt>
    <dgm:pt modelId="{FBDC630A-E68C-4B3B-ABBC-81D6C89A97D0}" type="pres">
      <dgm:prSet presAssocID="{7A5BBE2B-DF20-4E8D-8250-A00E544F18B0}" presName="parentText" presStyleLbl="node1" presStyleIdx="0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F8D665A6-3C4C-494B-9BDA-119FD51FFA34}" type="pres">
      <dgm:prSet presAssocID="{7A5BBE2B-DF20-4E8D-8250-A00E544F18B0}" presName="descendantText" presStyleLbl="alignAccFollowNode1" presStyleIdx="0" presStyleCnt="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D9F0C9E2-943D-40F7-8862-545CDE45BB4C}" type="pres">
      <dgm:prSet presAssocID="{6C43B46B-4968-4DDD-A8AD-6CF7A7242391}" presName="sp" presStyleCnt="0"/>
      <dgm:spPr/>
      <dgm:t>
        <a:bodyPr/>
        <a:lstStyle/>
        <a:p>
          <a:endParaRPr lang="en-US"/>
        </a:p>
      </dgm:t>
    </dgm:pt>
    <dgm:pt modelId="{17D6960D-6CE4-4F96-914F-E5D3BB78B377}" type="pres">
      <dgm:prSet presAssocID="{6AB1E712-B2CB-4512-8B6D-49D4E3A68959}" presName="linNode" presStyleCnt="0"/>
      <dgm:spPr/>
      <dgm:t>
        <a:bodyPr/>
        <a:lstStyle/>
        <a:p>
          <a:endParaRPr lang="en-US"/>
        </a:p>
      </dgm:t>
    </dgm:pt>
    <dgm:pt modelId="{224D0C5F-CB9C-42CC-81FD-B054E9D2DADC}" type="pres">
      <dgm:prSet presAssocID="{6AB1E712-B2CB-4512-8B6D-49D4E3A68959}" presName="parentText" presStyleLbl="node1" presStyleIdx="1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8EA32E8B-0EB3-4C5F-92FF-0C1F448770EA}" type="pres">
      <dgm:prSet presAssocID="{6AB1E712-B2CB-4512-8B6D-49D4E3A68959}" presName="descendantText" presStyleLbl="alignAccFollowNode1" presStyleIdx="1" presStyleCnt="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8BBF6ABA-7EAA-4892-8CE6-C5F58204CAA0}" type="pres">
      <dgm:prSet presAssocID="{8C90986D-7F28-4F48-B323-8250DA7CC4CF}" presName="sp" presStyleCnt="0"/>
      <dgm:spPr/>
      <dgm:t>
        <a:bodyPr/>
        <a:lstStyle/>
        <a:p>
          <a:endParaRPr lang="en-US"/>
        </a:p>
      </dgm:t>
    </dgm:pt>
    <dgm:pt modelId="{4DC9C3E6-A9A7-47D1-9F81-CF9C945D24D7}" type="pres">
      <dgm:prSet presAssocID="{8C3E2433-6992-4FF5-8BB4-F40885E80699}" presName="linNode" presStyleCnt="0"/>
      <dgm:spPr/>
      <dgm:t>
        <a:bodyPr/>
        <a:lstStyle/>
        <a:p>
          <a:endParaRPr lang="en-US"/>
        </a:p>
      </dgm:t>
    </dgm:pt>
    <dgm:pt modelId="{D8951C6E-08A4-4815-AFC1-0CD7B74E1DEF}" type="pres">
      <dgm:prSet presAssocID="{8C3E2433-6992-4FF5-8BB4-F40885E80699}" presName="parentText" presStyleLbl="node1" presStyleIdx="2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49FF4B20-C543-4C90-810B-0A513909FD16}" type="pres">
      <dgm:prSet presAssocID="{8C3E2433-6992-4FF5-8BB4-F40885E80699}" presName="descendantText" presStyleLbl="alignAccFollowNode1" presStyleIdx="2" presStyleCnt="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6AFB9E4F-5D60-45E9-8E0A-7EC1732796C7}" type="presOf" srcId="{8C3E2433-6992-4FF5-8BB4-F40885E80699}" destId="{D8951C6E-08A4-4815-AFC1-0CD7B74E1DEF}" srcOrd="0" destOrd="0" presId="urn:microsoft.com/office/officeart/2005/8/layout/vList5"/>
    <dgm:cxn modelId="{996B74E6-5CB5-4DF5-84D5-39E2ECC0B24C}" srcId="{8C3E2433-6992-4FF5-8BB4-F40885E80699}" destId="{9429F731-435E-4646-9B0D-F034B6E7FE5C}" srcOrd="1" destOrd="0" parTransId="{288CC1C7-A65D-445F-B69B-F399F6452D43}" sibTransId="{9D3F3DCB-2747-47DC-A4DD-CCA1732E94C2}"/>
    <dgm:cxn modelId="{FFC0D2F4-1155-4FAA-9AE8-0B5B28CB0143}" type="presOf" srcId="{681DAAD8-5030-41DE-94AA-3D5F2B6F2AE2}" destId="{8EA32E8B-0EB3-4C5F-92FF-0C1F448770EA}" srcOrd="0" destOrd="5" presId="urn:microsoft.com/office/officeart/2005/8/layout/vList5"/>
    <dgm:cxn modelId="{6F8DF73D-8AE0-4A77-8447-ED34993C2D40}" srcId="{7A5BBE2B-DF20-4E8D-8250-A00E544F18B0}" destId="{568C5355-370A-49E5-977B-B373E6A570D8}" srcOrd="0" destOrd="0" parTransId="{1DEEF5EC-3953-4AA7-9330-56CA4902C7C9}" sibTransId="{27CB6870-2A6C-43D5-9102-ACA11007E65D}"/>
    <dgm:cxn modelId="{F72E2735-4D89-4442-9383-3FB66B1FE057}" type="presOf" srcId="{256ACB66-33CF-4A98-8D36-3C465E9FE972}" destId="{49FF4B20-C543-4C90-810B-0A513909FD16}" srcOrd="0" destOrd="0" presId="urn:microsoft.com/office/officeart/2005/8/layout/vList5"/>
    <dgm:cxn modelId="{D405F8B2-2313-4FC9-BA19-F51CC580F706}" type="presOf" srcId="{17A24862-4930-4745-953B-ABB77194C4E3}" destId="{8EA32E8B-0EB3-4C5F-92FF-0C1F448770EA}" srcOrd="0" destOrd="2" presId="urn:microsoft.com/office/officeart/2005/8/layout/vList5"/>
    <dgm:cxn modelId="{4EE4CF1D-9CAC-49CE-848C-1E9FEA76F765}" type="presOf" srcId="{B2ED39F8-5584-484C-A85E-CA38DFF61CFA}" destId="{5928D5AA-2DC9-4FE5-90D5-BD61360488B4}" srcOrd="0" destOrd="0" presId="urn:microsoft.com/office/officeart/2005/8/layout/vList5"/>
    <dgm:cxn modelId="{8554C602-A1C5-42BB-AE8A-E8A455E6194C}" type="presOf" srcId="{9429F731-435E-4646-9B0D-F034B6E7FE5C}" destId="{49FF4B20-C543-4C90-810B-0A513909FD16}" srcOrd="0" destOrd="1" presId="urn:microsoft.com/office/officeart/2005/8/layout/vList5"/>
    <dgm:cxn modelId="{255B9B11-FEA0-40BA-8DF7-10195C55341C}" srcId="{B2ED39F8-5584-484C-A85E-CA38DFF61CFA}" destId="{8C3E2433-6992-4FF5-8BB4-F40885E80699}" srcOrd="2" destOrd="0" parTransId="{4D766B01-D05B-49F8-9104-CBE6128E2C54}" sibTransId="{FF862E54-6E57-4B16-A3EA-B5936AA84F5F}"/>
    <dgm:cxn modelId="{D2781892-1FF0-44F3-9D28-257BC1D53330}" srcId="{7A5BBE2B-DF20-4E8D-8250-A00E544F18B0}" destId="{9A79E536-BFC7-411C-85CA-D73138C5863B}" srcOrd="1" destOrd="0" parTransId="{EC1AB788-DA26-4EF3-B3A1-5A0681B49FA9}" sibTransId="{CB0BB819-0F3A-4A20-B0AC-9389C5502A80}"/>
    <dgm:cxn modelId="{FC906815-CCC8-4710-A1F8-BE9B89C2F52B}" srcId="{6AB1E712-B2CB-4512-8B6D-49D4E3A68959}" destId="{380D813A-DE0E-4ACC-AB21-CC6CCE2E48FA}" srcOrd="4" destOrd="0" parTransId="{F4857C68-B5CE-4038-A2E8-A10A956D4A1E}" sibTransId="{18333547-A330-41BF-9827-D1B27164720F}"/>
    <dgm:cxn modelId="{D9798DAF-AC15-41AB-8503-D652C6057FAB}" srcId="{8C3E2433-6992-4FF5-8BB4-F40885E80699}" destId="{256ACB66-33CF-4A98-8D36-3C465E9FE972}" srcOrd="0" destOrd="0" parTransId="{4DF938E1-251C-462B-AC8A-7A204B08A7AF}" sibTransId="{23758944-3D84-41AE-9E6F-AD24CA6BB190}"/>
    <dgm:cxn modelId="{60C60759-E9DF-41A5-8E9C-280E5F8F9DD7}" srcId="{7A5BBE2B-DF20-4E8D-8250-A00E544F18B0}" destId="{7D74394E-AA13-4B53-B731-BE310F4563AB}" srcOrd="3" destOrd="0" parTransId="{14130EEC-3B60-48BA-9BCD-593E0C16B17F}" sibTransId="{E5C0364D-5A22-48BA-B175-3816AD73BAB1}"/>
    <dgm:cxn modelId="{385B7965-C82F-49E4-9F12-A85E423D3F27}" type="presOf" srcId="{7D74394E-AA13-4B53-B731-BE310F4563AB}" destId="{F8D665A6-3C4C-494B-9BDA-119FD51FFA34}" srcOrd="0" destOrd="3" presId="urn:microsoft.com/office/officeart/2005/8/layout/vList5"/>
    <dgm:cxn modelId="{81134FEB-DD84-4288-A580-1D4B9E7D898C}" type="presOf" srcId="{E4CD1447-E9AD-44D2-BB2B-29961DA0B852}" destId="{F8D665A6-3C4C-494B-9BDA-119FD51FFA34}" srcOrd="0" destOrd="2" presId="urn:microsoft.com/office/officeart/2005/8/layout/vList5"/>
    <dgm:cxn modelId="{3FD96E07-8190-4928-9E06-80B210DB5B71}" type="presOf" srcId="{380D813A-DE0E-4ACC-AB21-CC6CCE2E48FA}" destId="{8EA32E8B-0EB3-4C5F-92FF-0C1F448770EA}" srcOrd="0" destOrd="4" presId="urn:microsoft.com/office/officeart/2005/8/layout/vList5"/>
    <dgm:cxn modelId="{FA103871-CB29-4403-9C1F-56F0A1E8C49B}" type="presOf" srcId="{7A5BBE2B-DF20-4E8D-8250-A00E544F18B0}" destId="{FBDC630A-E68C-4B3B-ABBC-81D6C89A97D0}" srcOrd="0" destOrd="0" presId="urn:microsoft.com/office/officeart/2005/8/layout/vList5"/>
    <dgm:cxn modelId="{B1AA099D-7470-4781-B639-ED4D1FD4B3DD}" srcId="{6AB1E712-B2CB-4512-8B6D-49D4E3A68959}" destId="{15867C4B-05B0-4076-BACB-D4DC64AB68E9}" srcOrd="3" destOrd="0" parTransId="{4C045927-84E5-4FBF-B9B9-95BF6A0D88D1}" sibTransId="{FD63F346-65A4-4CFA-995D-87CEE374FC99}"/>
    <dgm:cxn modelId="{133D8B0F-B225-49DF-8FD0-A83E8C93690C}" srcId="{B2ED39F8-5584-484C-A85E-CA38DFF61CFA}" destId="{7A5BBE2B-DF20-4E8D-8250-A00E544F18B0}" srcOrd="0" destOrd="0" parTransId="{6D24CE05-704B-4B08-849C-9289059898E1}" sibTransId="{6C43B46B-4968-4DDD-A8AD-6CF7A7242391}"/>
    <dgm:cxn modelId="{DD91AD4F-A44E-42C2-91F6-5C168463DD32}" srcId="{6AB1E712-B2CB-4512-8B6D-49D4E3A68959}" destId="{17A24862-4930-4745-953B-ABB77194C4E3}" srcOrd="2" destOrd="0" parTransId="{D04ECD0A-3393-4D41-9058-B3CC99323D0D}" sibTransId="{A9A41DA7-6641-4B3F-B4DF-F84B468F00D6}"/>
    <dgm:cxn modelId="{AF036D21-7AB8-48FD-9A0F-1EF449CF3C55}" srcId="{B2ED39F8-5584-484C-A85E-CA38DFF61CFA}" destId="{6AB1E712-B2CB-4512-8B6D-49D4E3A68959}" srcOrd="1" destOrd="0" parTransId="{94DDB41C-F908-48D8-A780-658F9C2B4D94}" sibTransId="{8C90986D-7F28-4F48-B323-8250DA7CC4CF}"/>
    <dgm:cxn modelId="{CAE89E05-0C0C-4944-B51F-2308AFD45C6B}" type="presOf" srcId="{15867C4B-05B0-4076-BACB-D4DC64AB68E9}" destId="{8EA32E8B-0EB3-4C5F-92FF-0C1F448770EA}" srcOrd="0" destOrd="3" presId="urn:microsoft.com/office/officeart/2005/8/layout/vList5"/>
    <dgm:cxn modelId="{678C50DD-E572-4C27-A6C9-A729A39EC86C}" srcId="{6AB1E712-B2CB-4512-8B6D-49D4E3A68959}" destId="{681DAAD8-5030-41DE-94AA-3D5F2B6F2AE2}" srcOrd="5" destOrd="0" parTransId="{C28948FA-E0E5-4930-905E-DA68ACED3D4C}" sibTransId="{69D23267-0415-4F6B-8C1C-2E9533EBF9E4}"/>
    <dgm:cxn modelId="{4347D9F6-990D-4131-894E-D0E7F271A6CC}" srcId="{7A5BBE2B-DF20-4E8D-8250-A00E544F18B0}" destId="{E4CD1447-E9AD-44D2-BB2B-29961DA0B852}" srcOrd="2" destOrd="0" parTransId="{981763B0-CCAA-43C3-82C0-708609DD12AB}" sibTransId="{EBA2CD8D-5E66-4598-867D-B784D7D1CBD6}"/>
    <dgm:cxn modelId="{02E60E7F-5181-4C41-9E74-C97B0968ACAF}" type="presOf" srcId="{9A79E536-BFC7-411C-85CA-D73138C5863B}" destId="{F8D665A6-3C4C-494B-9BDA-119FD51FFA34}" srcOrd="0" destOrd="1" presId="urn:microsoft.com/office/officeart/2005/8/layout/vList5"/>
    <dgm:cxn modelId="{138A0C03-08D1-4B7D-BDE6-478EBFE37091}" type="presOf" srcId="{568C5355-370A-49E5-977B-B373E6A570D8}" destId="{F8D665A6-3C4C-494B-9BDA-119FD51FFA34}" srcOrd="0" destOrd="0" presId="urn:microsoft.com/office/officeart/2005/8/layout/vList5"/>
    <dgm:cxn modelId="{F310254D-A3CE-43D8-B192-46BD48160FAA}" type="presOf" srcId="{2897B012-8FA3-4075-99CF-FD732C61839C}" destId="{8EA32E8B-0EB3-4C5F-92FF-0C1F448770EA}" srcOrd="0" destOrd="0" presId="urn:microsoft.com/office/officeart/2005/8/layout/vList5"/>
    <dgm:cxn modelId="{CECFF5EE-BA5D-4F7E-AB27-1E704F335E0C}" srcId="{6AB1E712-B2CB-4512-8B6D-49D4E3A68959}" destId="{BC1927B9-9939-42A1-BDBF-25CA1860458B}" srcOrd="1" destOrd="0" parTransId="{380BCC2B-92FF-44A5-A94A-B7957E2C202A}" sibTransId="{07D68B8B-D739-4C3D-9E8D-A46FB7D7AC93}"/>
    <dgm:cxn modelId="{4A264426-667B-4885-9B57-E04B17E54D4A}" srcId="{6AB1E712-B2CB-4512-8B6D-49D4E3A68959}" destId="{2897B012-8FA3-4075-99CF-FD732C61839C}" srcOrd="0" destOrd="0" parTransId="{791DE447-DAC4-4926-A382-1960ED4A2C97}" sibTransId="{D48E467A-EEA3-4E8E-8BF7-CA82E71A2F68}"/>
    <dgm:cxn modelId="{442CE415-E801-44F6-AD68-20C18181E414}" type="presOf" srcId="{6AB1E712-B2CB-4512-8B6D-49D4E3A68959}" destId="{224D0C5F-CB9C-42CC-81FD-B054E9D2DADC}" srcOrd="0" destOrd="0" presId="urn:microsoft.com/office/officeart/2005/8/layout/vList5"/>
    <dgm:cxn modelId="{9AC94CB3-5601-4343-B14B-97E83CB1B19D}" type="presOf" srcId="{BC1927B9-9939-42A1-BDBF-25CA1860458B}" destId="{8EA32E8B-0EB3-4C5F-92FF-0C1F448770EA}" srcOrd="0" destOrd="1" presId="urn:microsoft.com/office/officeart/2005/8/layout/vList5"/>
    <dgm:cxn modelId="{B159B0BB-BD5B-4FDF-AC86-94269842E0DA}" type="presParOf" srcId="{5928D5AA-2DC9-4FE5-90D5-BD61360488B4}" destId="{4E44A90A-E4D3-4ABE-A6E2-86E2B576F9BD}" srcOrd="0" destOrd="0" presId="urn:microsoft.com/office/officeart/2005/8/layout/vList5"/>
    <dgm:cxn modelId="{5DD19344-1735-4E1F-95E1-43881AEF944A}" type="presParOf" srcId="{4E44A90A-E4D3-4ABE-A6E2-86E2B576F9BD}" destId="{FBDC630A-E68C-4B3B-ABBC-81D6C89A97D0}" srcOrd="0" destOrd="0" presId="urn:microsoft.com/office/officeart/2005/8/layout/vList5"/>
    <dgm:cxn modelId="{B50979E0-F99C-4974-B092-D12D36735884}" type="presParOf" srcId="{4E44A90A-E4D3-4ABE-A6E2-86E2B576F9BD}" destId="{F8D665A6-3C4C-494B-9BDA-119FD51FFA34}" srcOrd="1" destOrd="0" presId="urn:microsoft.com/office/officeart/2005/8/layout/vList5"/>
    <dgm:cxn modelId="{1BCC8DE3-433C-4722-9A7F-F12F4B9147BF}" type="presParOf" srcId="{5928D5AA-2DC9-4FE5-90D5-BD61360488B4}" destId="{D9F0C9E2-943D-40F7-8862-545CDE45BB4C}" srcOrd="1" destOrd="0" presId="urn:microsoft.com/office/officeart/2005/8/layout/vList5"/>
    <dgm:cxn modelId="{2AA2D4A8-266A-4373-805F-385FAE5FF7CE}" type="presParOf" srcId="{5928D5AA-2DC9-4FE5-90D5-BD61360488B4}" destId="{17D6960D-6CE4-4F96-914F-E5D3BB78B377}" srcOrd="2" destOrd="0" presId="urn:microsoft.com/office/officeart/2005/8/layout/vList5"/>
    <dgm:cxn modelId="{BA1F9B78-203B-4EC6-82E0-06BF526B2775}" type="presParOf" srcId="{17D6960D-6CE4-4F96-914F-E5D3BB78B377}" destId="{224D0C5F-CB9C-42CC-81FD-B054E9D2DADC}" srcOrd="0" destOrd="0" presId="urn:microsoft.com/office/officeart/2005/8/layout/vList5"/>
    <dgm:cxn modelId="{24E0C84D-F74A-467F-ACB4-E2A2FC2DC94C}" type="presParOf" srcId="{17D6960D-6CE4-4F96-914F-E5D3BB78B377}" destId="{8EA32E8B-0EB3-4C5F-92FF-0C1F448770EA}" srcOrd="1" destOrd="0" presId="urn:microsoft.com/office/officeart/2005/8/layout/vList5"/>
    <dgm:cxn modelId="{507CA1B7-455B-46B7-98A7-1AEA2CD237A2}" type="presParOf" srcId="{5928D5AA-2DC9-4FE5-90D5-BD61360488B4}" destId="{8BBF6ABA-7EAA-4892-8CE6-C5F58204CAA0}" srcOrd="3" destOrd="0" presId="urn:microsoft.com/office/officeart/2005/8/layout/vList5"/>
    <dgm:cxn modelId="{CBA55A8E-7834-4A5C-B199-B71F29E3E360}" type="presParOf" srcId="{5928D5AA-2DC9-4FE5-90D5-BD61360488B4}" destId="{4DC9C3E6-A9A7-47D1-9F81-CF9C945D24D7}" srcOrd="4" destOrd="0" presId="urn:microsoft.com/office/officeart/2005/8/layout/vList5"/>
    <dgm:cxn modelId="{74DA816F-BE64-4D49-97D7-6364C60C9582}" type="presParOf" srcId="{4DC9C3E6-A9A7-47D1-9F81-CF9C945D24D7}" destId="{D8951C6E-08A4-4815-AFC1-0CD7B74E1DEF}" srcOrd="0" destOrd="0" presId="urn:microsoft.com/office/officeart/2005/8/layout/vList5"/>
    <dgm:cxn modelId="{8F886F4C-D495-426E-97F0-6255E54B5C28}" type="presParOf" srcId="{4DC9C3E6-A9A7-47D1-9F81-CF9C945D24D7}" destId="{49FF4B20-C543-4C90-810B-0A513909FD16}" srcOrd="1" destOrd="0" presId="urn:microsoft.com/office/officeart/2005/8/layout/vList5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E03E2032-2885-4153-B7BA-B64838EAD43E}" type="doc">
      <dgm:prSet loTypeId="urn:microsoft.com/office/officeart/2005/8/layout/chevronAccent+Icon" loCatId="process" qsTypeId="urn:microsoft.com/office/officeart/2005/8/quickstyle/simple1" qsCatId="simple" csTypeId="urn:microsoft.com/office/officeart/2005/8/colors/accent1_2" csCatId="accent1" phldr="1"/>
      <dgm:spPr/>
    </dgm:pt>
    <dgm:pt modelId="{58F2B0B5-34C8-4741-A4E0-953934889A05}">
      <dgm:prSet phldrT="[Text]"/>
      <dgm:spPr/>
      <dgm:t>
        <a:bodyPr/>
        <a:lstStyle/>
        <a:p>
          <a:r>
            <a:rPr lang="en-US" dirty="0" smtClean="0"/>
            <a:t>PBC names EMP Task Force Members</a:t>
          </a:r>
          <a:endParaRPr lang="en-US" dirty="0"/>
        </a:p>
      </dgm:t>
    </dgm:pt>
    <dgm:pt modelId="{A809EBF0-9E25-490D-93BD-7623421018A3}" type="parTrans" cxnId="{ACFB231F-1D48-4C9A-BDCA-67FCCB25E1DE}">
      <dgm:prSet/>
      <dgm:spPr/>
      <dgm:t>
        <a:bodyPr/>
        <a:lstStyle/>
        <a:p>
          <a:endParaRPr lang="en-US"/>
        </a:p>
      </dgm:t>
    </dgm:pt>
    <dgm:pt modelId="{48FC480B-309F-404D-B9EE-6A245C0A8537}" type="sibTrans" cxnId="{ACFB231F-1D48-4C9A-BDCA-67FCCB25E1DE}">
      <dgm:prSet/>
      <dgm:spPr/>
      <dgm:t>
        <a:bodyPr/>
        <a:lstStyle/>
        <a:p>
          <a:endParaRPr lang="en-US"/>
        </a:p>
      </dgm:t>
    </dgm:pt>
    <dgm:pt modelId="{76181F49-0EF2-4E0F-8E06-B60C95155A3E}">
      <dgm:prSet phldrT="[Text]"/>
      <dgm:spPr/>
      <dgm:t>
        <a:bodyPr/>
        <a:lstStyle/>
        <a:p>
          <a:r>
            <a:rPr lang="en-US" dirty="0" smtClean="0"/>
            <a:t>EMP Task Force evaluates 2017-22 EMP</a:t>
          </a:r>
          <a:endParaRPr lang="en-US" dirty="0"/>
        </a:p>
      </dgm:t>
    </dgm:pt>
    <dgm:pt modelId="{E4AD1D28-96EA-4DCD-830A-A2D3E43C994E}" type="parTrans" cxnId="{8F6F81C2-AE7C-465D-9A43-97A4732560F4}">
      <dgm:prSet/>
      <dgm:spPr/>
      <dgm:t>
        <a:bodyPr/>
        <a:lstStyle/>
        <a:p>
          <a:endParaRPr lang="en-US"/>
        </a:p>
      </dgm:t>
    </dgm:pt>
    <dgm:pt modelId="{B32B3035-9426-41CD-BE04-2EF8F89E412A}" type="sibTrans" cxnId="{8F6F81C2-AE7C-465D-9A43-97A4732560F4}">
      <dgm:prSet/>
      <dgm:spPr/>
      <dgm:t>
        <a:bodyPr/>
        <a:lstStyle/>
        <a:p>
          <a:endParaRPr lang="en-US"/>
        </a:p>
      </dgm:t>
    </dgm:pt>
    <dgm:pt modelId="{6D42A10B-FB58-4342-AABB-F0FD568A2AC2}">
      <dgm:prSet phldrT="[Text]"/>
      <dgm:spPr/>
      <dgm:t>
        <a:bodyPr/>
        <a:lstStyle/>
        <a:p>
          <a:r>
            <a:rPr lang="en-US" dirty="0" smtClean="0"/>
            <a:t>SCUP Training in Strategic Planning</a:t>
          </a:r>
          <a:endParaRPr lang="en-US" dirty="0"/>
        </a:p>
      </dgm:t>
    </dgm:pt>
    <dgm:pt modelId="{2554B860-5648-4D44-AFB6-2DF7F6E2CBE0}" type="parTrans" cxnId="{29AF9D0F-306D-47CB-B760-AC1E92666C84}">
      <dgm:prSet/>
      <dgm:spPr/>
      <dgm:t>
        <a:bodyPr/>
        <a:lstStyle/>
        <a:p>
          <a:endParaRPr lang="en-US"/>
        </a:p>
      </dgm:t>
    </dgm:pt>
    <dgm:pt modelId="{2A9B5682-B2C3-4822-8CEB-70562EDA6068}" type="sibTrans" cxnId="{29AF9D0F-306D-47CB-B760-AC1E92666C84}">
      <dgm:prSet/>
      <dgm:spPr/>
      <dgm:t>
        <a:bodyPr/>
        <a:lstStyle/>
        <a:p>
          <a:endParaRPr lang="en-US"/>
        </a:p>
      </dgm:t>
    </dgm:pt>
    <dgm:pt modelId="{90E77C3F-728F-426A-803D-C4765380D2C5}">
      <dgm:prSet phldrT="[Text]"/>
      <dgm:spPr/>
      <dgm:t>
        <a:bodyPr/>
        <a:lstStyle/>
        <a:p>
          <a:r>
            <a:rPr lang="en-US" dirty="0" smtClean="0"/>
            <a:t>Mission, Vision, Values Update</a:t>
          </a:r>
          <a:endParaRPr lang="en-US" dirty="0"/>
        </a:p>
      </dgm:t>
    </dgm:pt>
    <dgm:pt modelId="{8A256F4C-04B6-4FEF-99B1-3EB445097F38}" type="parTrans" cxnId="{5A7DD9DB-AA40-4344-894E-FE8D99C74FFD}">
      <dgm:prSet/>
      <dgm:spPr/>
      <dgm:t>
        <a:bodyPr/>
        <a:lstStyle/>
        <a:p>
          <a:endParaRPr lang="en-US"/>
        </a:p>
      </dgm:t>
    </dgm:pt>
    <dgm:pt modelId="{01AB17AD-5682-4B5F-8885-4E5C67E08CC2}" type="sibTrans" cxnId="{5A7DD9DB-AA40-4344-894E-FE8D99C74FFD}">
      <dgm:prSet/>
      <dgm:spPr/>
      <dgm:t>
        <a:bodyPr/>
        <a:lstStyle/>
        <a:p>
          <a:endParaRPr lang="en-US"/>
        </a:p>
      </dgm:t>
    </dgm:pt>
    <dgm:pt modelId="{CD75BF98-09ED-4745-83E7-10064944472F}" type="pres">
      <dgm:prSet presAssocID="{E03E2032-2885-4153-B7BA-B64838EAD43E}" presName="Name0" presStyleCnt="0">
        <dgm:presLayoutVars>
          <dgm:dir/>
          <dgm:resizeHandles val="exact"/>
        </dgm:presLayoutVars>
      </dgm:prSet>
      <dgm:spPr/>
    </dgm:pt>
    <dgm:pt modelId="{8C71BB98-2D20-45E6-9A4F-128DBE4EFE7A}" type="pres">
      <dgm:prSet presAssocID="{58F2B0B5-34C8-4741-A4E0-953934889A05}" presName="composite" presStyleCnt="0"/>
      <dgm:spPr/>
    </dgm:pt>
    <dgm:pt modelId="{A531ABB9-A0CC-44AF-9D91-ABC7722708F9}" type="pres">
      <dgm:prSet presAssocID="{58F2B0B5-34C8-4741-A4E0-953934889A05}" presName="bgChev" presStyleLbl="node1" presStyleIdx="0" presStyleCnt="4"/>
      <dgm:spPr/>
    </dgm:pt>
    <dgm:pt modelId="{8050C308-0359-4823-A719-6822CFD198D9}" type="pres">
      <dgm:prSet presAssocID="{58F2B0B5-34C8-4741-A4E0-953934889A05}" presName="txNode" presStyleLbl="fgAcc1" presStyleIdx="0" presStyleCnt="4" custLinFactNeighborX="-2026" custLinFactNeighborY="27862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79FA438A-F45F-4D0B-88A2-16A81B00D082}" type="pres">
      <dgm:prSet presAssocID="{48FC480B-309F-404D-B9EE-6A245C0A8537}" presName="compositeSpace" presStyleCnt="0"/>
      <dgm:spPr/>
    </dgm:pt>
    <dgm:pt modelId="{27D858D7-123E-4571-B9EB-F7AC74D94259}" type="pres">
      <dgm:prSet presAssocID="{76181F49-0EF2-4E0F-8E06-B60C95155A3E}" presName="composite" presStyleCnt="0"/>
      <dgm:spPr/>
    </dgm:pt>
    <dgm:pt modelId="{A2AFE52F-60EA-4AA3-B5C9-9FB5E9B4AE1D}" type="pres">
      <dgm:prSet presAssocID="{76181F49-0EF2-4E0F-8E06-B60C95155A3E}" presName="bgChev" presStyleLbl="node1" presStyleIdx="1" presStyleCnt="4"/>
      <dgm:spPr/>
    </dgm:pt>
    <dgm:pt modelId="{ED72BE07-5368-481E-9B08-E5EA573A2F06}" type="pres">
      <dgm:prSet presAssocID="{76181F49-0EF2-4E0F-8E06-B60C95155A3E}" presName="txNode" presStyleLbl="fgAcc1" presStyleIdx="1" presStyleCnt="4" custLinFactNeighborX="-3603" custLinFactNeighborY="24988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16ECB99A-5CB6-4D16-8AC9-2548230F77F1}" type="pres">
      <dgm:prSet presAssocID="{B32B3035-9426-41CD-BE04-2EF8F89E412A}" presName="compositeSpace" presStyleCnt="0"/>
      <dgm:spPr/>
    </dgm:pt>
    <dgm:pt modelId="{D6B80D96-2D1B-463F-82FB-6962FC33A39B}" type="pres">
      <dgm:prSet presAssocID="{6D42A10B-FB58-4342-AABB-F0FD568A2AC2}" presName="composite" presStyleCnt="0"/>
      <dgm:spPr/>
    </dgm:pt>
    <dgm:pt modelId="{95A15CF2-9509-4345-B27A-F0176C2A29DB}" type="pres">
      <dgm:prSet presAssocID="{6D42A10B-FB58-4342-AABB-F0FD568A2AC2}" presName="bgChev" presStyleLbl="node1" presStyleIdx="2" presStyleCnt="4"/>
      <dgm:spPr/>
    </dgm:pt>
    <dgm:pt modelId="{57F12D80-2D43-4688-AB7D-CA8D1E0A1964}" type="pres">
      <dgm:prSet presAssocID="{6D42A10B-FB58-4342-AABB-F0FD568A2AC2}" presName="txNode" presStyleLbl="fgAcc1" presStyleIdx="2" presStyleCnt="4" custLinFactNeighborX="-2654" custLinFactNeighborY="27862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95545C89-8708-43F6-AA92-46132337C4B9}" type="pres">
      <dgm:prSet presAssocID="{2A9B5682-B2C3-4822-8CEB-70562EDA6068}" presName="compositeSpace" presStyleCnt="0"/>
      <dgm:spPr/>
    </dgm:pt>
    <dgm:pt modelId="{71A9AB4C-8F43-472C-BC38-1D6FEA901446}" type="pres">
      <dgm:prSet presAssocID="{90E77C3F-728F-426A-803D-C4765380D2C5}" presName="composite" presStyleCnt="0"/>
      <dgm:spPr/>
    </dgm:pt>
    <dgm:pt modelId="{E50352E7-CD5D-4E06-B393-32A305A7BD09}" type="pres">
      <dgm:prSet presAssocID="{90E77C3F-728F-426A-803D-C4765380D2C5}" presName="bgChev" presStyleLbl="node1" presStyleIdx="3" presStyleCnt="4"/>
      <dgm:spPr/>
    </dgm:pt>
    <dgm:pt modelId="{2CB01204-0281-4611-94EC-EC5A6763AADA}" type="pres">
      <dgm:prSet presAssocID="{90E77C3F-728F-426A-803D-C4765380D2C5}" presName="txNode" presStyleLbl="fgAcc1" presStyleIdx="3" presStyleCnt="4" custLinFactNeighborX="252" custLinFactNeighborY="2707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224674BB-4330-47B4-86FF-008A1A691E41}" type="presOf" srcId="{76181F49-0EF2-4E0F-8E06-B60C95155A3E}" destId="{ED72BE07-5368-481E-9B08-E5EA573A2F06}" srcOrd="0" destOrd="0" presId="urn:microsoft.com/office/officeart/2005/8/layout/chevronAccent+Icon"/>
    <dgm:cxn modelId="{8F6F81C2-AE7C-465D-9A43-97A4732560F4}" srcId="{E03E2032-2885-4153-B7BA-B64838EAD43E}" destId="{76181F49-0EF2-4E0F-8E06-B60C95155A3E}" srcOrd="1" destOrd="0" parTransId="{E4AD1D28-96EA-4DCD-830A-A2D3E43C994E}" sibTransId="{B32B3035-9426-41CD-BE04-2EF8F89E412A}"/>
    <dgm:cxn modelId="{ACFB231F-1D48-4C9A-BDCA-67FCCB25E1DE}" srcId="{E03E2032-2885-4153-B7BA-B64838EAD43E}" destId="{58F2B0B5-34C8-4741-A4E0-953934889A05}" srcOrd="0" destOrd="0" parTransId="{A809EBF0-9E25-490D-93BD-7623421018A3}" sibTransId="{48FC480B-309F-404D-B9EE-6A245C0A8537}"/>
    <dgm:cxn modelId="{FBC79BD3-BC1A-4DC5-B09C-0AE1E9677AF8}" type="presOf" srcId="{6D42A10B-FB58-4342-AABB-F0FD568A2AC2}" destId="{57F12D80-2D43-4688-AB7D-CA8D1E0A1964}" srcOrd="0" destOrd="0" presId="urn:microsoft.com/office/officeart/2005/8/layout/chevronAccent+Icon"/>
    <dgm:cxn modelId="{E93FFCA4-9C98-4F98-9596-7DE33A073ED9}" type="presOf" srcId="{E03E2032-2885-4153-B7BA-B64838EAD43E}" destId="{CD75BF98-09ED-4745-83E7-10064944472F}" srcOrd="0" destOrd="0" presId="urn:microsoft.com/office/officeart/2005/8/layout/chevronAccent+Icon"/>
    <dgm:cxn modelId="{29AF9D0F-306D-47CB-B760-AC1E92666C84}" srcId="{E03E2032-2885-4153-B7BA-B64838EAD43E}" destId="{6D42A10B-FB58-4342-AABB-F0FD568A2AC2}" srcOrd="2" destOrd="0" parTransId="{2554B860-5648-4D44-AFB6-2DF7F6E2CBE0}" sibTransId="{2A9B5682-B2C3-4822-8CEB-70562EDA6068}"/>
    <dgm:cxn modelId="{1614BED2-0C8A-49A5-B739-8CD2C8744938}" type="presOf" srcId="{90E77C3F-728F-426A-803D-C4765380D2C5}" destId="{2CB01204-0281-4611-94EC-EC5A6763AADA}" srcOrd="0" destOrd="0" presId="urn:microsoft.com/office/officeart/2005/8/layout/chevronAccent+Icon"/>
    <dgm:cxn modelId="{C3138191-F846-41AA-AA70-897DAA4BF6C0}" type="presOf" srcId="{58F2B0B5-34C8-4741-A4E0-953934889A05}" destId="{8050C308-0359-4823-A719-6822CFD198D9}" srcOrd="0" destOrd="0" presId="urn:microsoft.com/office/officeart/2005/8/layout/chevronAccent+Icon"/>
    <dgm:cxn modelId="{5A7DD9DB-AA40-4344-894E-FE8D99C74FFD}" srcId="{E03E2032-2885-4153-B7BA-B64838EAD43E}" destId="{90E77C3F-728F-426A-803D-C4765380D2C5}" srcOrd="3" destOrd="0" parTransId="{8A256F4C-04B6-4FEF-99B1-3EB445097F38}" sibTransId="{01AB17AD-5682-4B5F-8885-4E5C67E08CC2}"/>
    <dgm:cxn modelId="{48659F9F-4F8F-46E0-818E-C428E04E649D}" type="presParOf" srcId="{CD75BF98-09ED-4745-83E7-10064944472F}" destId="{8C71BB98-2D20-45E6-9A4F-128DBE4EFE7A}" srcOrd="0" destOrd="0" presId="urn:microsoft.com/office/officeart/2005/8/layout/chevronAccent+Icon"/>
    <dgm:cxn modelId="{17BA00E8-097B-4978-9525-28A156DECCEE}" type="presParOf" srcId="{8C71BB98-2D20-45E6-9A4F-128DBE4EFE7A}" destId="{A531ABB9-A0CC-44AF-9D91-ABC7722708F9}" srcOrd="0" destOrd="0" presId="urn:microsoft.com/office/officeart/2005/8/layout/chevronAccent+Icon"/>
    <dgm:cxn modelId="{F58E4A2A-7591-4439-9B63-C9FEA5A1C68C}" type="presParOf" srcId="{8C71BB98-2D20-45E6-9A4F-128DBE4EFE7A}" destId="{8050C308-0359-4823-A719-6822CFD198D9}" srcOrd="1" destOrd="0" presId="urn:microsoft.com/office/officeart/2005/8/layout/chevronAccent+Icon"/>
    <dgm:cxn modelId="{4FA4FE0E-93C5-47B8-AB8F-C876CEE2A90A}" type="presParOf" srcId="{CD75BF98-09ED-4745-83E7-10064944472F}" destId="{79FA438A-F45F-4D0B-88A2-16A81B00D082}" srcOrd="1" destOrd="0" presId="urn:microsoft.com/office/officeart/2005/8/layout/chevronAccent+Icon"/>
    <dgm:cxn modelId="{4CD4DD79-2958-4BAC-9199-5666F64E5FB7}" type="presParOf" srcId="{CD75BF98-09ED-4745-83E7-10064944472F}" destId="{27D858D7-123E-4571-B9EB-F7AC74D94259}" srcOrd="2" destOrd="0" presId="urn:microsoft.com/office/officeart/2005/8/layout/chevronAccent+Icon"/>
    <dgm:cxn modelId="{20AFEAEC-717F-4B44-90F2-BB3970A3B9A4}" type="presParOf" srcId="{27D858D7-123E-4571-B9EB-F7AC74D94259}" destId="{A2AFE52F-60EA-4AA3-B5C9-9FB5E9B4AE1D}" srcOrd="0" destOrd="0" presId="urn:microsoft.com/office/officeart/2005/8/layout/chevronAccent+Icon"/>
    <dgm:cxn modelId="{29F62AF3-53B9-4E9E-9E44-55859C4C3F8D}" type="presParOf" srcId="{27D858D7-123E-4571-B9EB-F7AC74D94259}" destId="{ED72BE07-5368-481E-9B08-E5EA573A2F06}" srcOrd="1" destOrd="0" presId="urn:microsoft.com/office/officeart/2005/8/layout/chevronAccent+Icon"/>
    <dgm:cxn modelId="{68A70E5C-FD62-485E-ADC7-09B175C1112C}" type="presParOf" srcId="{CD75BF98-09ED-4745-83E7-10064944472F}" destId="{16ECB99A-5CB6-4D16-8AC9-2548230F77F1}" srcOrd="3" destOrd="0" presId="urn:microsoft.com/office/officeart/2005/8/layout/chevronAccent+Icon"/>
    <dgm:cxn modelId="{263E5B9E-94F9-49DC-A121-5A893FA93318}" type="presParOf" srcId="{CD75BF98-09ED-4745-83E7-10064944472F}" destId="{D6B80D96-2D1B-463F-82FB-6962FC33A39B}" srcOrd="4" destOrd="0" presId="urn:microsoft.com/office/officeart/2005/8/layout/chevronAccent+Icon"/>
    <dgm:cxn modelId="{FF0A9A79-96C9-4728-8E1E-15BBD61802F7}" type="presParOf" srcId="{D6B80D96-2D1B-463F-82FB-6962FC33A39B}" destId="{95A15CF2-9509-4345-B27A-F0176C2A29DB}" srcOrd="0" destOrd="0" presId="urn:microsoft.com/office/officeart/2005/8/layout/chevronAccent+Icon"/>
    <dgm:cxn modelId="{2D3EFD21-3166-4700-B782-F8042205C876}" type="presParOf" srcId="{D6B80D96-2D1B-463F-82FB-6962FC33A39B}" destId="{57F12D80-2D43-4688-AB7D-CA8D1E0A1964}" srcOrd="1" destOrd="0" presId="urn:microsoft.com/office/officeart/2005/8/layout/chevronAccent+Icon"/>
    <dgm:cxn modelId="{3DDECE1F-67EF-4334-849A-B61F79EF2497}" type="presParOf" srcId="{CD75BF98-09ED-4745-83E7-10064944472F}" destId="{95545C89-8708-43F6-AA92-46132337C4B9}" srcOrd="5" destOrd="0" presId="urn:microsoft.com/office/officeart/2005/8/layout/chevronAccent+Icon"/>
    <dgm:cxn modelId="{DEB5215D-C76E-46AB-96C7-FE896768DF21}" type="presParOf" srcId="{CD75BF98-09ED-4745-83E7-10064944472F}" destId="{71A9AB4C-8F43-472C-BC38-1D6FEA901446}" srcOrd="6" destOrd="0" presId="urn:microsoft.com/office/officeart/2005/8/layout/chevronAccent+Icon"/>
    <dgm:cxn modelId="{08C7DA68-B51C-48EB-9E51-4425527BC145}" type="presParOf" srcId="{71A9AB4C-8F43-472C-BC38-1D6FEA901446}" destId="{E50352E7-CD5D-4E06-B393-32A305A7BD09}" srcOrd="0" destOrd="0" presId="urn:microsoft.com/office/officeart/2005/8/layout/chevronAccent+Icon"/>
    <dgm:cxn modelId="{E3F20EDB-14AD-4C75-9E5D-E3DCD91A4127}" type="presParOf" srcId="{71A9AB4C-8F43-472C-BC38-1D6FEA901446}" destId="{2CB01204-0281-4611-94EC-EC5A6763AADA}" srcOrd="1" destOrd="0" presId="urn:microsoft.com/office/officeart/2005/8/layout/chevronAccent+Icon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E03E2032-2885-4153-B7BA-B64838EAD43E}" type="doc">
      <dgm:prSet loTypeId="urn:microsoft.com/office/officeart/2005/8/layout/chevronAccent+Icon" loCatId="process" qsTypeId="urn:microsoft.com/office/officeart/2005/8/quickstyle/simple1" qsCatId="simple" csTypeId="urn:microsoft.com/office/officeart/2005/8/colors/accent1_2" csCatId="accent1" phldr="1"/>
      <dgm:spPr/>
    </dgm:pt>
    <dgm:pt modelId="{58F2B0B5-34C8-4741-A4E0-953934889A05}">
      <dgm:prSet phldrT="[Text]"/>
      <dgm:spPr/>
      <dgm:t>
        <a:bodyPr/>
        <a:lstStyle/>
        <a:p>
          <a:r>
            <a:rPr lang="en-US" dirty="0" smtClean="0"/>
            <a:t>EMP TF considers “Internal Scan”</a:t>
          </a:r>
          <a:endParaRPr lang="en-US" dirty="0"/>
        </a:p>
      </dgm:t>
    </dgm:pt>
    <dgm:pt modelId="{A809EBF0-9E25-490D-93BD-7623421018A3}" type="parTrans" cxnId="{ACFB231F-1D48-4C9A-BDCA-67FCCB25E1DE}">
      <dgm:prSet/>
      <dgm:spPr/>
      <dgm:t>
        <a:bodyPr/>
        <a:lstStyle/>
        <a:p>
          <a:endParaRPr lang="en-US"/>
        </a:p>
      </dgm:t>
    </dgm:pt>
    <dgm:pt modelId="{48FC480B-309F-404D-B9EE-6A245C0A8537}" type="sibTrans" cxnId="{ACFB231F-1D48-4C9A-BDCA-67FCCB25E1DE}">
      <dgm:prSet/>
      <dgm:spPr/>
      <dgm:t>
        <a:bodyPr/>
        <a:lstStyle/>
        <a:p>
          <a:endParaRPr lang="en-US"/>
        </a:p>
      </dgm:t>
    </dgm:pt>
    <dgm:pt modelId="{76181F49-0EF2-4E0F-8E06-B60C95155A3E}">
      <dgm:prSet phldrT="[Text]"/>
      <dgm:spPr/>
      <dgm:t>
        <a:bodyPr/>
        <a:lstStyle/>
        <a:p>
          <a:r>
            <a:rPr lang="en-US" dirty="0" smtClean="0"/>
            <a:t>EMP TF considers “External Scan”</a:t>
          </a:r>
          <a:endParaRPr lang="en-US" dirty="0"/>
        </a:p>
      </dgm:t>
    </dgm:pt>
    <dgm:pt modelId="{E4AD1D28-96EA-4DCD-830A-A2D3E43C994E}" type="parTrans" cxnId="{8F6F81C2-AE7C-465D-9A43-97A4732560F4}">
      <dgm:prSet/>
      <dgm:spPr/>
      <dgm:t>
        <a:bodyPr/>
        <a:lstStyle/>
        <a:p>
          <a:endParaRPr lang="en-US"/>
        </a:p>
      </dgm:t>
    </dgm:pt>
    <dgm:pt modelId="{B32B3035-9426-41CD-BE04-2EF8F89E412A}" type="sibTrans" cxnId="{8F6F81C2-AE7C-465D-9A43-97A4732560F4}">
      <dgm:prSet/>
      <dgm:spPr/>
      <dgm:t>
        <a:bodyPr/>
        <a:lstStyle/>
        <a:p>
          <a:endParaRPr lang="en-US"/>
        </a:p>
      </dgm:t>
    </dgm:pt>
    <dgm:pt modelId="{6D42A10B-FB58-4342-AABB-F0FD568A2AC2}">
      <dgm:prSet phldrT="[Text]"/>
      <dgm:spPr/>
      <dgm:t>
        <a:bodyPr/>
        <a:lstStyle/>
        <a:p>
          <a:r>
            <a:rPr lang="en-US" dirty="0" smtClean="0"/>
            <a:t>College Councils provide input on challenges and opportunities</a:t>
          </a:r>
          <a:endParaRPr lang="en-US" dirty="0"/>
        </a:p>
      </dgm:t>
    </dgm:pt>
    <dgm:pt modelId="{2554B860-5648-4D44-AFB6-2DF7F6E2CBE0}" type="parTrans" cxnId="{29AF9D0F-306D-47CB-B760-AC1E92666C84}">
      <dgm:prSet/>
      <dgm:spPr/>
      <dgm:t>
        <a:bodyPr/>
        <a:lstStyle/>
        <a:p>
          <a:endParaRPr lang="en-US"/>
        </a:p>
      </dgm:t>
    </dgm:pt>
    <dgm:pt modelId="{2A9B5682-B2C3-4822-8CEB-70562EDA6068}" type="sibTrans" cxnId="{29AF9D0F-306D-47CB-B760-AC1E92666C84}">
      <dgm:prSet/>
      <dgm:spPr/>
      <dgm:t>
        <a:bodyPr/>
        <a:lstStyle/>
        <a:p>
          <a:endParaRPr lang="en-US"/>
        </a:p>
      </dgm:t>
    </dgm:pt>
    <dgm:pt modelId="{90E77C3F-728F-426A-803D-C4765380D2C5}">
      <dgm:prSet phldrT="[Text]"/>
      <dgm:spPr/>
      <dgm:t>
        <a:bodyPr/>
        <a:lstStyle/>
        <a:p>
          <a:r>
            <a:rPr lang="en-US" dirty="0" smtClean="0"/>
            <a:t>Town Hall</a:t>
          </a:r>
          <a:endParaRPr lang="en-US" dirty="0"/>
        </a:p>
      </dgm:t>
    </dgm:pt>
    <dgm:pt modelId="{8A256F4C-04B6-4FEF-99B1-3EB445097F38}" type="parTrans" cxnId="{5A7DD9DB-AA40-4344-894E-FE8D99C74FFD}">
      <dgm:prSet/>
      <dgm:spPr/>
      <dgm:t>
        <a:bodyPr/>
        <a:lstStyle/>
        <a:p>
          <a:endParaRPr lang="en-US"/>
        </a:p>
      </dgm:t>
    </dgm:pt>
    <dgm:pt modelId="{01AB17AD-5682-4B5F-8885-4E5C67E08CC2}" type="sibTrans" cxnId="{5A7DD9DB-AA40-4344-894E-FE8D99C74FFD}">
      <dgm:prSet/>
      <dgm:spPr/>
      <dgm:t>
        <a:bodyPr/>
        <a:lstStyle/>
        <a:p>
          <a:endParaRPr lang="en-US"/>
        </a:p>
      </dgm:t>
    </dgm:pt>
    <dgm:pt modelId="{CD75BF98-09ED-4745-83E7-10064944472F}" type="pres">
      <dgm:prSet presAssocID="{E03E2032-2885-4153-B7BA-B64838EAD43E}" presName="Name0" presStyleCnt="0">
        <dgm:presLayoutVars>
          <dgm:dir/>
          <dgm:resizeHandles val="exact"/>
        </dgm:presLayoutVars>
      </dgm:prSet>
      <dgm:spPr/>
    </dgm:pt>
    <dgm:pt modelId="{8C71BB98-2D20-45E6-9A4F-128DBE4EFE7A}" type="pres">
      <dgm:prSet presAssocID="{58F2B0B5-34C8-4741-A4E0-953934889A05}" presName="composite" presStyleCnt="0"/>
      <dgm:spPr/>
    </dgm:pt>
    <dgm:pt modelId="{A531ABB9-A0CC-44AF-9D91-ABC7722708F9}" type="pres">
      <dgm:prSet presAssocID="{58F2B0B5-34C8-4741-A4E0-953934889A05}" presName="bgChev" presStyleLbl="node1" presStyleIdx="0" presStyleCnt="4"/>
      <dgm:spPr/>
    </dgm:pt>
    <dgm:pt modelId="{8050C308-0359-4823-A719-6822CFD198D9}" type="pres">
      <dgm:prSet presAssocID="{58F2B0B5-34C8-4741-A4E0-953934889A05}" presName="txNode" presStyleLbl="fgAcc1" presStyleIdx="0" presStyleCnt="4" custLinFactNeighborX="-2026" custLinFactNeighborY="27862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79FA438A-F45F-4D0B-88A2-16A81B00D082}" type="pres">
      <dgm:prSet presAssocID="{48FC480B-309F-404D-B9EE-6A245C0A8537}" presName="compositeSpace" presStyleCnt="0"/>
      <dgm:spPr/>
    </dgm:pt>
    <dgm:pt modelId="{27D858D7-123E-4571-B9EB-F7AC74D94259}" type="pres">
      <dgm:prSet presAssocID="{76181F49-0EF2-4E0F-8E06-B60C95155A3E}" presName="composite" presStyleCnt="0"/>
      <dgm:spPr/>
    </dgm:pt>
    <dgm:pt modelId="{A2AFE52F-60EA-4AA3-B5C9-9FB5E9B4AE1D}" type="pres">
      <dgm:prSet presAssocID="{76181F49-0EF2-4E0F-8E06-B60C95155A3E}" presName="bgChev" presStyleLbl="node1" presStyleIdx="1" presStyleCnt="4"/>
      <dgm:spPr/>
    </dgm:pt>
    <dgm:pt modelId="{ED72BE07-5368-481E-9B08-E5EA573A2F06}" type="pres">
      <dgm:prSet presAssocID="{76181F49-0EF2-4E0F-8E06-B60C95155A3E}" presName="txNode" presStyleLbl="fgAcc1" presStyleIdx="1" presStyleCnt="4" custLinFactNeighborX="-3603" custLinFactNeighborY="24988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16ECB99A-5CB6-4D16-8AC9-2548230F77F1}" type="pres">
      <dgm:prSet presAssocID="{B32B3035-9426-41CD-BE04-2EF8F89E412A}" presName="compositeSpace" presStyleCnt="0"/>
      <dgm:spPr/>
    </dgm:pt>
    <dgm:pt modelId="{D6B80D96-2D1B-463F-82FB-6962FC33A39B}" type="pres">
      <dgm:prSet presAssocID="{6D42A10B-FB58-4342-AABB-F0FD568A2AC2}" presName="composite" presStyleCnt="0"/>
      <dgm:spPr/>
    </dgm:pt>
    <dgm:pt modelId="{95A15CF2-9509-4345-B27A-F0176C2A29DB}" type="pres">
      <dgm:prSet presAssocID="{6D42A10B-FB58-4342-AABB-F0FD568A2AC2}" presName="bgChev" presStyleLbl="node1" presStyleIdx="2" presStyleCnt="4"/>
      <dgm:spPr/>
    </dgm:pt>
    <dgm:pt modelId="{57F12D80-2D43-4688-AB7D-CA8D1E0A1964}" type="pres">
      <dgm:prSet presAssocID="{6D42A10B-FB58-4342-AABB-F0FD568A2AC2}" presName="txNode" presStyleLbl="fgAcc1" presStyleIdx="2" presStyleCnt="4" custLinFactNeighborX="-2654" custLinFactNeighborY="27862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95545C89-8708-43F6-AA92-46132337C4B9}" type="pres">
      <dgm:prSet presAssocID="{2A9B5682-B2C3-4822-8CEB-70562EDA6068}" presName="compositeSpace" presStyleCnt="0"/>
      <dgm:spPr/>
    </dgm:pt>
    <dgm:pt modelId="{71A9AB4C-8F43-472C-BC38-1D6FEA901446}" type="pres">
      <dgm:prSet presAssocID="{90E77C3F-728F-426A-803D-C4765380D2C5}" presName="composite" presStyleCnt="0"/>
      <dgm:spPr/>
    </dgm:pt>
    <dgm:pt modelId="{E50352E7-CD5D-4E06-B393-32A305A7BD09}" type="pres">
      <dgm:prSet presAssocID="{90E77C3F-728F-426A-803D-C4765380D2C5}" presName="bgChev" presStyleLbl="node1" presStyleIdx="3" presStyleCnt="4"/>
      <dgm:spPr/>
    </dgm:pt>
    <dgm:pt modelId="{2CB01204-0281-4611-94EC-EC5A6763AADA}" type="pres">
      <dgm:prSet presAssocID="{90E77C3F-728F-426A-803D-C4765380D2C5}" presName="txNode" presStyleLbl="fgAcc1" presStyleIdx="3" presStyleCnt="4" custLinFactNeighborX="252" custLinFactNeighborY="2707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224674BB-4330-47B4-86FF-008A1A691E41}" type="presOf" srcId="{76181F49-0EF2-4E0F-8E06-B60C95155A3E}" destId="{ED72BE07-5368-481E-9B08-E5EA573A2F06}" srcOrd="0" destOrd="0" presId="urn:microsoft.com/office/officeart/2005/8/layout/chevronAccent+Icon"/>
    <dgm:cxn modelId="{8F6F81C2-AE7C-465D-9A43-97A4732560F4}" srcId="{E03E2032-2885-4153-B7BA-B64838EAD43E}" destId="{76181F49-0EF2-4E0F-8E06-B60C95155A3E}" srcOrd="1" destOrd="0" parTransId="{E4AD1D28-96EA-4DCD-830A-A2D3E43C994E}" sibTransId="{B32B3035-9426-41CD-BE04-2EF8F89E412A}"/>
    <dgm:cxn modelId="{ACFB231F-1D48-4C9A-BDCA-67FCCB25E1DE}" srcId="{E03E2032-2885-4153-B7BA-B64838EAD43E}" destId="{58F2B0B5-34C8-4741-A4E0-953934889A05}" srcOrd="0" destOrd="0" parTransId="{A809EBF0-9E25-490D-93BD-7623421018A3}" sibTransId="{48FC480B-309F-404D-B9EE-6A245C0A8537}"/>
    <dgm:cxn modelId="{FBC79BD3-BC1A-4DC5-B09C-0AE1E9677AF8}" type="presOf" srcId="{6D42A10B-FB58-4342-AABB-F0FD568A2AC2}" destId="{57F12D80-2D43-4688-AB7D-CA8D1E0A1964}" srcOrd="0" destOrd="0" presId="urn:microsoft.com/office/officeart/2005/8/layout/chevronAccent+Icon"/>
    <dgm:cxn modelId="{E93FFCA4-9C98-4F98-9596-7DE33A073ED9}" type="presOf" srcId="{E03E2032-2885-4153-B7BA-B64838EAD43E}" destId="{CD75BF98-09ED-4745-83E7-10064944472F}" srcOrd="0" destOrd="0" presId="urn:microsoft.com/office/officeart/2005/8/layout/chevronAccent+Icon"/>
    <dgm:cxn modelId="{29AF9D0F-306D-47CB-B760-AC1E92666C84}" srcId="{E03E2032-2885-4153-B7BA-B64838EAD43E}" destId="{6D42A10B-FB58-4342-AABB-F0FD568A2AC2}" srcOrd="2" destOrd="0" parTransId="{2554B860-5648-4D44-AFB6-2DF7F6E2CBE0}" sibTransId="{2A9B5682-B2C3-4822-8CEB-70562EDA6068}"/>
    <dgm:cxn modelId="{1614BED2-0C8A-49A5-B739-8CD2C8744938}" type="presOf" srcId="{90E77C3F-728F-426A-803D-C4765380D2C5}" destId="{2CB01204-0281-4611-94EC-EC5A6763AADA}" srcOrd="0" destOrd="0" presId="urn:microsoft.com/office/officeart/2005/8/layout/chevronAccent+Icon"/>
    <dgm:cxn modelId="{C3138191-F846-41AA-AA70-897DAA4BF6C0}" type="presOf" srcId="{58F2B0B5-34C8-4741-A4E0-953934889A05}" destId="{8050C308-0359-4823-A719-6822CFD198D9}" srcOrd="0" destOrd="0" presId="urn:microsoft.com/office/officeart/2005/8/layout/chevronAccent+Icon"/>
    <dgm:cxn modelId="{5A7DD9DB-AA40-4344-894E-FE8D99C74FFD}" srcId="{E03E2032-2885-4153-B7BA-B64838EAD43E}" destId="{90E77C3F-728F-426A-803D-C4765380D2C5}" srcOrd="3" destOrd="0" parTransId="{8A256F4C-04B6-4FEF-99B1-3EB445097F38}" sibTransId="{01AB17AD-5682-4B5F-8885-4E5C67E08CC2}"/>
    <dgm:cxn modelId="{48659F9F-4F8F-46E0-818E-C428E04E649D}" type="presParOf" srcId="{CD75BF98-09ED-4745-83E7-10064944472F}" destId="{8C71BB98-2D20-45E6-9A4F-128DBE4EFE7A}" srcOrd="0" destOrd="0" presId="urn:microsoft.com/office/officeart/2005/8/layout/chevronAccent+Icon"/>
    <dgm:cxn modelId="{17BA00E8-097B-4978-9525-28A156DECCEE}" type="presParOf" srcId="{8C71BB98-2D20-45E6-9A4F-128DBE4EFE7A}" destId="{A531ABB9-A0CC-44AF-9D91-ABC7722708F9}" srcOrd="0" destOrd="0" presId="urn:microsoft.com/office/officeart/2005/8/layout/chevronAccent+Icon"/>
    <dgm:cxn modelId="{F58E4A2A-7591-4439-9B63-C9FEA5A1C68C}" type="presParOf" srcId="{8C71BB98-2D20-45E6-9A4F-128DBE4EFE7A}" destId="{8050C308-0359-4823-A719-6822CFD198D9}" srcOrd="1" destOrd="0" presId="urn:microsoft.com/office/officeart/2005/8/layout/chevronAccent+Icon"/>
    <dgm:cxn modelId="{4FA4FE0E-93C5-47B8-AB8F-C876CEE2A90A}" type="presParOf" srcId="{CD75BF98-09ED-4745-83E7-10064944472F}" destId="{79FA438A-F45F-4D0B-88A2-16A81B00D082}" srcOrd="1" destOrd="0" presId="urn:microsoft.com/office/officeart/2005/8/layout/chevronAccent+Icon"/>
    <dgm:cxn modelId="{4CD4DD79-2958-4BAC-9199-5666F64E5FB7}" type="presParOf" srcId="{CD75BF98-09ED-4745-83E7-10064944472F}" destId="{27D858D7-123E-4571-B9EB-F7AC74D94259}" srcOrd="2" destOrd="0" presId="urn:microsoft.com/office/officeart/2005/8/layout/chevronAccent+Icon"/>
    <dgm:cxn modelId="{20AFEAEC-717F-4B44-90F2-BB3970A3B9A4}" type="presParOf" srcId="{27D858D7-123E-4571-B9EB-F7AC74D94259}" destId="{A2AFE52F-60EA-4AA3-B5C9-9FB5E9B4AE1D}" srcOrd="0" destOrd="0" presId="urn:microsoft.com/office/officeart/2005/8/layout/chevronAccent+Icon"/>
    <dgm:cxn modelId="{29F62AF3-53B9-4E9E-9E44-55859C4C3F8D}" type="presParOf" srcId="{27D858D7-123E-4571-B9EB-F7AC74D94259}" destId="{ED72BE07-5368-481E-9B08-E5EA573A2F06}" srcOrd="1" destOrd="0" presId="urn:microsoft.com/office/officeart/2005/8/layout/chevronAccent+Icon"/>
    <dgm:cxn modelId="{68A70E5C-FD62-485E-ADC7-09B175C1112C}" type="presParOf" srcId="{CD75BF98-09ED-4745-83E7-10064944472F}" destId="{16ECB99A-5CB6-4D16-8AC9-2548230F77F1}" srcOrd="3" destOrd="0" presId="urn:microsoft.com/office/officeart/2005/8/layout/chevronAccent+Icon"/>
    <dgm:cxn modelId="{263E5B9E-94F9-49DC-A121-5A893FA93318}" type="presParOf" srcId="{CD75BF98-09ED-4745-83E7-10064944472F}" destId="{D6B80D96-2D1B-463F-82FB-6962FC33A39B}" srcOrd="4" destOrd="0" presId="urn:microsoft.com/office/officeart/2005/8/layout/chevronAccent+Icon"/>
    <dgm:cxn modelId="{FF0A9A79-96C9-4728-8E1E-15BBD61802F7}" type="presParOf" srcId="{D6B80D96-2D1B-463F-82FB-6962FC33A39B}" destId="{95A15CF2-9509-4345-B27A-F0176C2A29DB}" srcOrd="0" destOrd="0" presId="urn:microsoft.com/office/officeart/2005/8/layout/chevronAccent+Icon"/>
    <dgm:cxn modelId="{2D3EFD21-3166-4700-B782-F8042205C876}" type="presParOf" srcId="{D6B80D96-2D1B-463F-82FB-6962FC33A39B}" destId="{57F12D80-2D43-4688-AB7D-CA8D1E0A1964}" srcOrd="1" destOrd="0" presId="urn:microsoft.com/office/officeart/2005/8/layout/chevronAccent+Icon"/>
    <dgm:cxn modelId="{3DDECE1F-67EF-4334-849A-B61F79EF2497}" type="presParOf" srcId="{CD75BF98-09ED-4745-83E7-10064944472F}" destId="{95545C89-8708-43F6-AA92-46132337C4B9}" srcOrd="5" destOrd="0" presId="urn:microsoft.com/office/officeart/2005/8/layout/chevronAccent+Icon"/>
    <dgm:cxn modelId="{DEB5215D-C76E-46AB-96C7-FE896768DF21}" type="presParOf" srcId="{CD75BF98-09ED-4745-83E7-10064944472F}" destId="{71A9AB4C-8F43-472C-BC38-1D6FEA901446}" srcOrd="6" destOrd="0" presId="urn:microsoft.com/office/officeart/2005/8/layout/chevronAccent+Icon"/>
    <dgm:cxn modelId="{08C7DA68-B51C-48EB-9E51-4425527BC145}" type="presParOf" srcId="{71A9AB4C-8F43-472C-BC38-1D6FEA901446}" destId="{E50352E7-CD5D-4E06-B393-32A305A7BD09}" srcOrd="0" destOrd="0" presId="urn:microsoft.com/office/officeart/2005/8/layout/chevronAccent+Icon"/>
    <dgm:cxn modelId="{E3F20EDB-14AD-4C75-9E5D-E3DCD91A4127}" type="presParOf" srcId="{71A9AB4C-8F43-472C-BC38-1D6FEA901446}" destId="{2CB01204-0281-4611-94EC-EC5A6763AADA}" srcOrd="1" destOrd="0" presId="urn:microsoft.com/office/officeart/2005/8/layout/chevronAccent+Icon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E03E2032-2885-4153-B7BA-B64838EAD43E}" type="doc">
      <dgm:prSet loTypeId="urn:microsoft.com/office/officeart/2005/8/layout/chevronAccent+Icon" loCatId="process" qsTypeId="urn:microsoft.com/office/officeart/2005/8/quickstyle/simple1" qsCatId="simple" csTypeId="urn:microsoft.com/office/officeart/2005/8/colors/accent1_2" csCatId="accent1" phldr="1"/>
      <dgm:spPr/>
    </dgm:pt>
    <dgm:pt modelId="{58F2B0B5-34C8-4741-A4E0-953934889A05}">
      <dgm:prSet phldrT="[Text]"/>
      <dgm:spPr/>
      <dgm:t>
        <a:bodyPr/>
        <a:lstStyle/>
        <a:p>
          <a:r>
            <a:rPr lang="en-US" dirty="0" smtClean="0"/>
            <a:t>EMP Retreat:  Set goals and new strategies</a:t>
          </a:r>
          <a:endParaRPr lang="en-US" dirty="0"/>
        </a:p>
      </dgm:t>
    </dgm:pt>
    <dgm:pt modelId="{A809EBF0-9E25-490D-93BD-7623421018A3}" type="parTrans" cxnId="{ACFB231F-1D48-4C9A-BDCA-67FCCB25E1DE}">
      <dgm:prSet/>
      <dgm:spPr/>
      <dgm:t>
        <a:bodyPr/>
        <a:lstStyle/>
        <a:p>
          <a:endParaRPr lang="en-US"/>
        </a:p>
      </dgm:t>
    </dgm:pt>
    <dgm:pt modelId="{48FC480B-309F-404D-B9EE-6A245C0A8537}" type="sibTrans" cxnId="{ACFB231F-1D48-4C9A-BDCA-67FCCB25E1DE}">
      <dgm:prSet/>
      <dgm:spPr/>
      <dgm:t>
        <a:bodyPr/>
        <a:lstStyle/>
        <a:p>
          <a:endParaRPr lang="en-US"/>
        </a:p>
      </dgm:t>
    </dgm:pt>
    <dgm:pt modelId="{76181F49-0EF2-4E0F-8E06-B60C95155A3E}">
      <dgm:prSet phldrT="[Text]"/>
      <dgm:spPr/>
      <dgm:t>
        <a:bodyPr/>
        <a:lstStyle/>
        <a:p>
          <a:r>
            <a:rPr lang="en-US" dirty="0" smtClean="0"/>
            <a:t>Campus constituents provide input on draft EMP</a:t>
          </a:r>
          <a:endParaRPr lang="en-US" dirty="0"/>
        </a:p>
      </dgm:t>
    </dgm:pt>
    <dgm:pt modelId="{E4AD1D28-96EA-4DCD-830A-A2D3E43C994E}" type="parTrans" cxnId="{8F6F81C2-AE7C-465D-9A43-97A4732560F4}">
      <dgm:prSet/>
      <dgm:spPr/>
      <dgm:t>
        <a:bodyPr/>
        <a:lstStyle/>
        <a:p>
          <a:endParaRPr lang="en-US"/>
        </a:p>
      </dgm:t>
    </dgm:pt>
    <dgm:pt modelId="{B32B3035-9426-41CD-BE04-2EF8F89E412A}" type="sibTrans" cxnId="{8F6F81C2-AE7C-465D-9A43-97A4732560F4}">
      <dgm:prSet/>
      <dgm:spPr/>
      <dgm:t>
        <a:bodyPr/>
        <a:lstStyle/>
        <a:p>
          <a:endParaRPr lang="en-US"/>
        </a:p>
      </dgm:t>
    </dgm:pt>
    <dgm:pt modelId="{6D42A10B-FB58-4342-AABB-F0FD568A2AC2}">
      <dgm:prSet phldrT="[Text]"/>
      <dgm:spPr/>
      <dgm:t>
        <a:bodyPr/>
        <a:lstStyle/>
        <a:p>
          <a:r>
            <a:rPr lang="en-US" dirty="0" smtClean="0"/>
            <a:t>PBC considers draft EMP</a:t>
          </a:r>
          <a:endParaRPr lang="en-US" dirty="0"/>
        </a:p>
      </dgm:t>
    </dgm:pt>
    <dgm:pt modelId="{2554B860-5648-4D44-AFB6-2DF7F6E2CBE0}" type="parTrans" cxnId="{29AF9D0F-306D-47CB-B760-AC1E92666C84}">
      <dgm:prSet/>
      <dgm:spPr/>
      <dgm:t>
        <a:bodyPr/>
        <a:lstStyle/>
        <a:p>
          <a:endParaRPr lang="en-US"/>
        </a:p>
      </dgm:t>
    </dgm:pt>
    <dgm:pt modelId="{2A9B5682-B2C3-4822-8CEB-70562EDA6068}" type="sibTrans" cxnId="{29AF9D0F-306D-47CB-B760-AC1E92666C84}">
      <dgm:prSet/>
      <dgm:spPr/>
      <dgm:t>
        <a:bodyPr/>
        <a:lstStyle/>
        <a:p>
          <a:endParaRPr lang="en-US"/>
        </a:p>
      </dgm:t>
    </dgm:pt>
    <dgm:pt modelId="{90E77C3F-728F-426A-803D-C4765380D2C5}">
      <dgm:prSet phldrT="[Text]"/>
      <dgm:spPr/>
      <dgm:t>
        <a:bodyPr/>
        <a:lstStyle/>
        <a:p>
          <a:r>
            <a:rPr lang="en-US" dirty="0" smtClean="0"/>
            <a:t>PBC adopts new EMP for 2022-27</a:t>
          </a:r>
          <a:endParaRPr lang="en-US" dirty="0"/>
        </a:p>
      </dgm:t>
    </dgm:pt>
    <dgm:pt modelId="{8A256F4C-04B6-4FEF-99B1-3EB445097F38}" type="parTrans" cxnId="{5A7DD9DB-AA40-4344-894E-FE8D99C74FFD}">
      <dgm:prSet/>
      <dgm:spPr/>
      <dgm:t>
        <a:bodyPr/>
        <a:lstStyle/>
        <a:p>
          <a:endParaRPr lang="en-US"/>
        </a:p>
      </dgm:t>
    </dgm:pt>
    <dgm:pt modelId="{01AB17AD-5682-4B5F-8885-4E5C67E08CC2}" type="sibTrans" cxnId="{5A7DD9DB-AA40-4344-894E-FE8D99C74FFD}">
      <dgm:prSet/>
      <dgm:spPr/>
      <dgm:t>
        <a:bodyPr/>
        <a:lstStyle/>
        <a:p>
          <a:endParaRPr lang="en-US"/>
        </a:p>
      </dgm:t>
    </dgm:pt>
    <dgm:pt modelId="{CD75BF98-09ED-4745-83E7-10064944472F}" type="pres">
      <dgm:prSet presAssocID="{E03E2032-2885-4153-B7BA-B64838EAD43E}" presName="Name0" presStyleCnt="0">
        <dgm:presLayoutVars>
          <dgm:dir/>
          <dgm:resizeHandles val="exact"/>
        </dgm:presLayoutVars>
      </dgm:prSet>
      <dgm:spPr/>
    </dgm:pt>
    <dgm:pt modelId="{8C71BB98-2D20-45E6-9A4F-128DBE4EFE7A}" type="pres">
      <dgm:prSet presAssocID="{58F2B0B5-34C8-4741-A4E0-953934889A05}" presName="composite" presStyleCnt="0"/>
      <dgm:spPr/>
    </dgm:pt>
    <dgm:pt modelId="{A531ABB9-A0CC-44AF-9D91-ABC7722708F9}" type="pres">
      <dgm:prSet presAssocID="{58F2B0B5-34C8-4741-A4E0-953934889A05}" presName="bgChev" presStyleLbl="node1" presStyleIdx="0" presStyleCnt="4"/>
      <dgm:spPr/>
    </dgm:pt>
    <dgm:pt modelId="{8050C308-0359-4823-A719-6822CFD198D9}" type="pres">
      <dgm:prSet presAssocID="{58F2B0B5-34C8-4741-A4E0-953934889A05}" presName="txNode" presStyleLbl="fgAcc1" presStyleIdx="0" presStyleCnt="4" custLinFactNeighborX="-2026" custLinFactNeighborY="27862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79FA438A-F45F-4D0B-88A2-16A81B00D082}" type="pres">
      <dgm:prSet presAssocID="{48FC480B-309F-404D-B9EE-6A245C0A8537}" presName="compositeSpace" presStyleCnt="0"/>
      <dgm:spPr/>
    </dgm:pt>
    <dgm:pt modelId="{27D858D7-123E-4571-B9EB-F7AC74D94259}" type="pres">
      <dgm:prSet presAssocID="{76181F49-0EF2-4E0F-8E06-B60C95155A3E}" presName="composite" presStyleCnt="0"/>
      <dgm:spPr/>
    </dgm:pt>
    <dgm:pt modelId="{A2AFE52F-60EA-4AA3-B5C9-9FB5E9B4AE1D}" type="pres">
      <dgm:prSet presAssocID="{76181F49-0EF2-4E0F-8E06-B60C95155A3E}" presName="bgChev" presStyleLbl="node1" presStyleIdx="1" presStyleCnt="4"/>
      <dgm:spPr/>
    </dgm:pt>
    <dgm:pt modelId="{ED72BE07-5368-481E-9B08-E5EA573A2F06}" type="pres">
      <dgm:prSet presAssocID="{76181F49-0EF2-4E0F-8E06-B60C95155A3E}" presName="txNode" presStyleLbl="fgAcc1" presStyleIdx="1" presStyleCnt="4" custLinFactNeighborX="-3603" custLinFactNeighborY="24988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16ECB99A-5CB6-4D16-8AC9-2548230F77F1}" type="pres">
      <dgm:prSet presAssocID="{B32B3035-9426-41CD-BE04-2EF8F89E412A}" presName="compositeSpace" presStyleCnt="0"/>
      <dgm:spPr/>
    </dgm:pt>
    <dgm:pt modelId="{D6B80D96-2D1B-463F-82FB-6962FC33A39B}" type="pres">
      <dgm:prSet presAssocID="{6D42A10B-FB58-4342-AABB-F0FD568A2AC2}" presName="composite" presStyleCnt="0"/>
      <dgm:spPr/>
    </dgm:pt>
    <dgm:pt modelId="{95A15CF2-9509-4345-B27A-F0176C2A29DB}" type="pres">
      <dgm:prSet presAssocID="{6D42A10B-FB58-4342-AABB-F0FD568A2AC2}" presName="bgChev" presStyleLbl="node1" presStyleIdx="2" presStyleCnt="4"/>
      <dgm:spPr/>
    </dgm:pt>
    <dgm:pt modelId="{57F12D80-2D43-4688-AB7D-CA8D1E0A1964}" type="pres">
      <dgm:prSet presAssocID="{6D42A10B-FB58-4342-AABB-F0FD568A2AC2}" presName="txNode" presStyleLbl="fgAcc1" presStyleIdx="2" presStyleCnt="4" custLinFactNeighborX="-2654" custLinFactNeighborY="27862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95545C89-8708-43F6-AA92-46132337C4B9}" type="pres">
      <dgm:prSet presAssocID="{2A9B5682-B2C3-4822-8CEB-70562EDA6068}" presName="compositeSpace" presStyleCnt="0"/>
      <dgm:spPr/>
    </dgm:pt>
    <dgm:pt modelId="{71A9AB4C-8F43-472C-BC38-1D6FEA901446}" type="pres">
      <dgm:prSet presAssocID="{90E77C3F-728F-426A-803D-C4765380D2C5}" presName="composite" presStyleCnt="0"/>
      <dgm:spPr/>
    </dgm:pt>
    <dgm:pt modelId="{E50352E7-CD5D-4E06-B393-32A305A7BD09}" type="pres">
      <dgm:prSet presAssocID="{90E77C3F-728F-426A-803D-C4765380D2C5}" presName="bgChev" presStyleLbl="node1" presStyleIdx="3" presStyleCnt="4"/>
      <dgm:spPr/>
    </dgm:pt>
    <dgm:pt modelId="{2CB01204-0281-4611-94EC-EC5A6763AADA}" type="pres">
      <dgm:prSet presAssocID="{90E77C3F-728F-426A-803D-C4765380D2C5}" presName="txNode" presStyleLbl="fgAcc1" presStyleIdx="3" presStyleCnt="4" custLinFactNeighborX="252" custLinFactNeighborY="2707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224674BB-4330-47B4-86FF-008A1A691E41}" type="presOf" srcId="{76181F49-0EF2-4E0F-8E06-B60C95155A3E}" destId="{ED72BE07-5368-481E-9B08-E5EA573A2F06}" srcOrd="0" destOrd="0" presId="urn:microsoft.com/office/officeart/2005/8/layout/chevronAccent+Icon"/>
    <dgm:cxn modelId="{8F6F81C2-AE7C-465D-9A43-97A4732560F4}" srcId="{E03E2032-2885-4153-B7BA-B64838EAD43E}" destId="{76181F49-0EF2-4E0F-8E06-B60C95155A3E}" srcOrd="1" destOrd="0" parTransId="{E4AD1D28-96EA-4DCD-830A-A2D3E43C994E}" sibTransId="{B32B3035-9426-41CD-BE04-2EF8F89E412A}"/>
    <dgm:cxn modelId="{ACFB231F-1D48-4C9A-BDCA-67FCCB25E1DE}" srcId="{E03E2032-2885-4153-B7BA-B64838EAD43E}" destId="{58F2B0B5-34C8-4741-A4E0-953934889A05}" srcOrd="0" destOrd="0" parTransId="{A809EBF0-9E25-490D-93BD-7623421018A3}" sibTransId="{48FC480B-309F-404D-B9EE-6A245C0A8537}"/>
    <dgm:cxn modelId="{FBC79BD3-BC1A-4DC5-B09C-0AE1E9677AF8}" type="presOf" srcId="{6D42A10B-FB58-4342-AABB-F0FD568A2AC2}" destId="{57F12D80-2D43-4688-AB7D-CA8D1E0A1964}" srcOrd="0" destOrd="0" presId="urn:microsoft.com/office/officeart/2005/8/layout/chevronAccent+Icon"/>
    <dgm:cxn modelId="{E93FFCA4-9C98-4F98-9596-7DE33A073ED9}" type="presOf" srcId="{E03E2032-2885-4153-B7BA-B64838EAD43E}" destId="{CD75BF98-09ED-4745-83E7-10064944472F}" srcOrd="0" destOrd="0" presId="urn:microsoft.com/office/officeart/2005/8/layout/chevronAccent+Icon"/>
    <dgm:cxn modelId="{29AF9D0F-306D-47CB-B760-AC1E92666C84}" srcId="{E03E2032-2885-4153-B7BA-B64838EAD43E}" destId="{6D42A10B-FB58-4342-AABB-F0FD568A2AC2}" srcOrd="2" destOrd="0" parTransId="{2554B860-5648-4D44-AFB6-2DF7F6E2CBE0}" sibTransId="{2A9B5682-B2C3-4822-8CEB-70562EDA6068}"/>
    <dgm:cxn modelId="{1614BED2-0C8A-49A5-B739-8CD2C8744938}" type="presOf" srcId="{90E77C3F-728F-426A-803D-C4765380D2C5}" destId="{2CB01204-0281-4611-94EC-EC5A6763AADA}" srcOrd="0" destOrd="0" presId="urn:microsoft.com/office/officeart/2005/8/layout/chevronAccent+Icon"/>
    <dgm:cxn modelId="{C3138191-F846-41AA-AA70-897DAA4BF6C0}" type="presOf" srcId="{58F2B0B5-34C8-4741-A4E0-953934889A05}" destId="{8050C308-0359-4823-A719-6822CFD198D9}" srcOrd="0" destOrd="0" presId="urn:microsoft.com/office/officeart/2005/8/layout/chevronAccent+Icon"/>
    <dgm:cxn modelId="{5A7DD9DB-AA40-4344-894E-FE8D99C74FFD}" srcId="{E03E2032-2885-4153-B7BA-B64838EAD43E}" destId="{90E77C3F-728F-426A-803D-C4765380D2C5}" srcOrd="3" destOrd="0" parTransId="{8A256F4C-04B6-4FEF-99B1-3EB445097F38}" sibTransId="{01AB17AD-5682-4B5F-8885-4E5C67E08CC2}"/>
    <dgm:cxn modelId="{48659F9F-4F8F-46E0-818E-C428E04E649D}" type="presParOf" srcId="{CD75BF98-09ED-4745-83E7-10064944472F}" destId="{8C71BB98-2D20-45E6-9A4F-128DBE4EFE7A}" srcOrd="0" destOrd="0" presId="urn:microsoft.com/office/officeart/2005/8/layout/chevronAccent+Icon"/>
    <dgm:cxn modelId="{17BA00E8-097B-4978-9525-28A156DECCEE}" type="presParOf" srcId="{8C71BB98-2D20-45E6-9A4F-128DBE4EFE7A}" destId="{A531ABB9-A0CC-44AF-9D91-ABC7722708F9}" srcOrd="0" destOrd="0" presId="urn:microsoft.com/office/officeart/2005/8/layout/chevronAccent+Icon"/>
    <dgm:cxn modelId="{F58E4A2A-7591-4439-9B63-C9FEA5A1C68C}" type="presParOf" srcId="{8C71BB98-2D20-45E6-9A4F-128DBE4EFE7A}" destId="{8050C308-0359-4823-A719-6822CFD198D9}" srcOrd="1" destOrd="0" presId="urn:microsoft.com/office/officeart/2005/8/layout/chevronAccent+Icon"/>
    <dgm:cxn modelId="{4FA4FE0E-93C5-47B8-AB8F-C876CEE2A90A}" type="presParOf" srcId="{CD75BF98-09ED-4745-83E7-10064944472F}" destId="{79FA438A-F45F-4D0B-88A2-16A81B00D082}" srcOrd="1" destOrd="0" presId="urn:microsoft.com/office/officeart/2005/8/layout/chevronAccent+Icon"/>
    <dgm:cxn modelId="{4CD4DD79-2958-4BAC-9199-5666F64E5FB7}" type="presParOf" srcId="{CD75BF98-09ED-4745-83E7-10064944472F}" destId="{27D858D7-123E-4571-B9EB-F7AC74D94259}" srcOrd="2" destOrd="0" presId="urn:microsoft.com/office/officeart/2005/8/layout/chevronAccent+Icon"/>
    <dgm:cxn modelId="{20AFEAEC-717F-4B44-90F2-BB3970A3B9A4}" type="presParOf" srcId="{27D858D7-123E-4571-B9EB-F7AC74D94259}" destId="{A2AFE52F-60EA-4AA3-B5C9-9FB5E9B4AE1D}" srcOrd="0" destOrd="0" presId="urn:microsoft.com/office/officeart/2005/8/layout/chevronAccent+Icon"/>
    <dgm:cxn modelId="{29F62AF3-53B9-4E9E-9E44-55859C4C3F8D}" type="presParOf" srcId="{27D858D7-123E-4571-B9EB-F7AC74D94259}" destId="{ED72BE07-5368-481E-9B08-E5EA573A2F06}" srcOrd="1" destOrd="0" presId="urn:microsoft.com/office/officeart/2005/8/layout/chevronAccent+Icon"/>
    <dgm:cxn modelId="{68A70E5C-FD62-485E-ADC7-09B175C1112C}" type="presParOf" srcId="{CD75BF98-09ED-4745-83E7-10064944472F}" destId="{16ECB99A-5CB6-4D16-8AC9-2548230F77F1}" srcOrd="3" destOrd="0" presId="urn:microsoft.com/office/officeart/2005/8/layout/chevronAccent+Icon"/>
    <dgm:cxn modelId="{263E5B9E-94F9-49DC-A121-5A893FA93318}" type="presParOf" srcId="{CD75BF98-09ED-4745-83E7-10064944472F}" destId="{D6B80D96-2D1B-463F-82FB-6962FC33A39B}" srcOrd="4" destOrd="0" presId="urn:microsoft.com/office/officeart/2005/8/layout/chevronAccent+Icon"/>
    <dgm:cxn modelId="{FF0A9A79-96C9-4728-8E1E-15BBD61802F7}" type="presParOf" srcId="{D6B80D96-2D1B-463F-82FB-6962FC33A39B}" destId="{95A15CF2-9509-4345-B27A-F0176C2A29DB}" srcOrd="0" destOrd="0" presId="urn:microsoft.com/office/officeart/2005/8/layout/chevronAccent+Icon"/>
    <dgm:cxn modelId="{2D3EFD21-3166-4700-B782-F8042205C876}" type="presParOf" srcId="{D6B80D96-2D1B-463F-82FB-6962FC33A39B}" destId="{57F12D80-2D43-4688-AB7D-CA8D1E0A1964}" srcOrd="1" destOrd="0" presId="urn:microsoft.com/office/officeart/2005/8/layout/chevronAccent+Icon"/>
    <dgm:cxn modelId="{3DDECE1F-67EF-4334-849A-B61F79EF2497}" type="presParOf" srcId="{CD75BF98-09ED-4745-83E7-10064944472F}" destId="{95545C89-8708-43F6-AA92-46132337C4B9}" srcOrd="5" destOrd="0" presId="urn:microsoft.com/office/officeart/2005/8/layout/chevronAccent+Icon"/>
    <dgm:cxn modelId="{DEB5215D-C76E-46AB-96C7-FE896768DF21}" type="presParOf" srcId="{CD75BF98-09ED-4745-83E7-10064944472F}" destId="{71A9AB4C-8F43-472C-BC38-1D6FEA901446}" srcOrd="6" destOrd="0" presId="urn:microsoft.com/office/officeart/2005/8/layout/chevronAccent+Icon"/>
    <dgm:cxn modelId="{08C7DA68-B51C-48EB-9E51-4425527BC145}" type="presParOf" srcId="{71A9AB4C-8F43-472C-BC38-1D6FEA901446}" destId="{E50352E7-CD5D-4E06-B393-32A305A7BD09}" srcOrd="0" destOrd="0" presId="urn:microsoft.com/office/officeart/2005/8/layout/chevronAccent+Icon"/>
    <dgm:cxn modelId="{E3F20EDB-14AD-4C75-9E5D-E3DCD91A4127}" type="presParOf" srcId="{71A9AB4C-8F43-472C-BC38-1D6FEA901446}" destId="{2CB01204-0281-4611-94EC-EC5A6763AADA}" srcOrd="1" destOrd="0" presId="urn:microsoft.com/office/officeart/2005/8/layout/chevronAccent+Icon"/>
  </dgm:cxnLst>
  <dgm:bg/>
  <dgm:whole/>
  <dgm:extLst>
    <a:ext uri="http://schemas.microsoft.com/office/drawing/2008/diagram">
      <dsp:dataModelExt xmlns:dsp="http://schemas.microsoft.com/office/drawing/2008/diagram" relId="rId1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8D665A6-3C4C-494B-9BDA-119FD51FFA34}">
      <dsp:nvSpPr>
        <dsp:cNvPr id="0" name=""/>
        <dsp:cNvSpPr/>
      </dsp:nvSpPr>
      <dsp:spPr>
        <a:xfrm rot="5400000">
          <a:off x="7073925" y="-2762269"/>
          <a:ext cx="1446978" cy="7338743"/>
        </a:xfrm>
        <a:prstGeom prst="round2SameRect">
          <a:avLst/>
        </a:prstGeom>
        <a:solidFill>
          <a:schemeClr val="accent5">
            <a:tint val="40000"/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5">
              <a:tint val="40000"/>
              <a:alpha val="9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9530" tIns="24765" rIns="49530" bIns="24765" numCol="1" spcCol="1270" anchor="ctr" anchorCtr="0">
          <a:noAutofit/>
        </a:bodyPr>
        <a:lstStyle/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300" b="0" i="0" kern="1200" dirty="0" smtClean="0"/>
            <a:t>Promote a climate of inclusivity</a:t>
          </a:r>
          <a:endParaRPr lang="en-US" sz="1300" kern="1200" dirty="0"/>
        </a:p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300" b="0" i="0" kern="1200" dirty="0" smtClean="0"/>
            <a:t>Institutionalize effective structures to reduce obligation gaps</a:t>
          </a:r>
          <a:endParaRPr lang="en-US" sz="1300" kern="1200" dirty="0"/>
        </a:p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300" b="0" i="0" kern="1200" dirty="0" smtClean="0"/>
            <a:t>Implement professional learning plan</a:t>
          </a:r>
          <a:endParaRPr lang="en-US" sz="1300" kern="1200" dirty="0"/>
        </a:p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300" b="0" i="0" kern="1200" dirty="0" smtClean="0"/>
            <a:t>Create process for innovation</a:t>
          </a:r>
          <a:endParaRPr lang="en-US" sz="1300" kern="1200" dirty="0"/>
        </a:p>
      </dsp:txBody>
      <dsp:txXfrm rot="-5400000">
        <a:off x="4128043" y="254249"/>
        <a:ext cx="7268107" cy="1305706"/>
      </dsp:txXfrm>
    </dsp:sp>
    <dsp:sp modelId="{FBDC630A-E68C-4B3B-ABBC-81D6C89A97D0}">
      <dsp:nvSpPr>
        <dsp:cNvPr id="0" name=""/>
        <dsp:cNvSpPr/>
      </dsp:nvSpPr>
      <dsp:spPr>
        <a:xfrm>
          <a:off x="0" y="2740"/>
          <a:ext cx="4128042" cy="1808723"/>
        </a:xfrm>
        <a:prstGeom prst="roundRect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3820" tIns="41910" rIns="83820" bIns="41910" numCol="1" spcCol="1270" anchor="ctr" anchorCtr="0">
          <a:noAutofit/>
        </a:bodyPr>
        <a:lstStyle/>
        <a:p>
          <a:pPr lvl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200" kern="1200" dirty="0" smtClean="0"/>
            <a:t>Improve our internal policies and processes</a:t>
          </a:r>
          <a:endParaRPr lang="en-US" sz="2200" kern="1200" dirty="0"/>
        </a:p>
      </dsp:txBody>
      <dsp:txXfrm>
        <a:off x="88295" y="91035"/>
        <a:ext cx="3951452" cy="1632133"/>
      </dsp:txXfrm>
    </dsp:sp>
    <dsp:sp modelId="{8EA32E8B-0EB3-4C5F-92FF-0C1F448770EA}">
      <dsp:nvSpPr>
        <dsp:cNvPr id="0" name=""/>
        <dsp:cNvSpPr/>
      </dsp:nvSpPr>
      <dsp:spPr>
        <a:xfrm rot="5400000">
          <a:off x="7073925" y="-863109"/>
          <a:ext cx="1446978" cy="7338743"/>
        </a:xfrm>
        <a:prstGeom prst="round2SameRect">
          <a:avLst/>
        </a:prstGeom>
        <a:solidFill>
          <a:schemeClr val="accent5">
            <a:tint val="40000"/>
            <a:alpha val="90000"/>
            <a:hueOff val="-3695877"/>
            <a:satOff val="-6408"/>
            <a:lumOff val="-644"/>
            <a:alphaOff val="0"/>
          </a:schemeClr>
        </a:solidFill>
        <a:ln w="12700" cap="flat" cmpd="sng" algn="ctr">
          <a:solidFill>
            <a:schemeClr val="accent5">
              <a:tint val="40000"/>
              <a:alpha val="90000"/>
              <a:hueOff val="-3695877"/>
              <a:satOff val="-6408"/>
              <a:lumOff val="-644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9530" tIns="24765" rIns="49530" bIns="24765" numCol="1" spcCol="1270" anchor="ctr" anchorCtr="0">
          <a:noAutofit/>
        </a:bodyPr>
        <a:lstStyle/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300" kern="1200" dirty="0" smtClean="0"/>
            <a:t>Implement Guided Pathways</a:t>
          </a:r>
          <a:endParaRPr lang="en-US" sz="1300" kern="1200" dirty="0"/>
        </a:p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300" kern="1200" dirty="0" smtClean="0"/>
            <a:t>Develop clear pathways</a:t>
          </a:r>
          <a:endParaRPr lang="en-US" sz="1300" kern="1200" dirty="0"/>
        </a:p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300" kern="1200" dirty="0" smtClean="0"/>
            <a:t>Improve student completion</a:t>
          </a:r>
          <a:endParaRPr lang="en-US" sz="1300" kern="1200" dirty="0"/>
        </a:p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300" kern="1200" dirty="0" smtClean="0"/>
            <a:t>K-12 &amp; Adult School partnerships; Partner with 4-year colleges &amp; universities</a:t>
          </a:r>
          <a:endParaRPr lang="en-US" sz="1300" kern="1200" dirty="0"/>
        </a:p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300" kern="1200" dirty="0" smtClean="0"/>
            <a:t>Connect students with Internships, </a:t>
          </a:r>
          <a:r>
            <a:rPr lang="en-US" sz="1300" kern="1200" dirty="0" err="1" smtClean="0"/>
            <a:t>etc</a:t>
          </a:r>
          <a:r>
            <a:rPr lang="en-US" sz="1300" kern="1200" dirty="0" smtClean="0"/>
            <a:t>; Build relationships with employers</a:t>
          </a:r>
          <a:endParaRPr lang="en-US" sz="1300" kern="1200" dirty="0"/>
        </a:p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300" b="0" i="0" kern="1200" dirty="0" smtClean="0"/>
            <a:t>Institutionalize effective structures to reduce obligation gaps</a:t>
          </a:r>
          <a:endParaRPr lang="en-US" sz="1300" kern="1200" dirty="0"/>
        </a:p>
      </dsp:txBody>
      <dsp:txXfrm rot="-5400000">
        <a:off x="4128043" y="2153409"/>
        <a:ext cx="7268107" cy="1305706"/>
      </dsp:txXfrm>
    </dsp:sp>
    <dsp:sp modelId="{224D0C5F-CB9C-42CC-81FD-B054E9D2DADC}">
      <dsp:nvSpPr>
        <dsp:cNvPr id="0" name=""/>
        <dsp:cNvSpPr/>
      </dsp:nvSpPr>
      <dsp:spPr>
        <a:xfrm>
          <a:off x="0" y="1901900"/>
          <a:ext cx="4128042" cy="1808723"/>
        </a:xfrm>
        <a:prstGeom prst="roundRect">
          <a:avLst/>
        </a:prstGeom>
        <a:solidFill>
          <a:schemeClr val="accent5">
            <a:hueOff val="-3676672"/>
            <a:satOff val="-5114"/>
            <a:lumOff val="-1961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3820" tIns="41910" rIns="83820" bIns="41910" numCol="1" spcCol="1270" anchor="ctr" anchorCtr="0">
          <a:noAutofit/>
        </a:bodyPr>
        <a:lstStyle/>
        <a:p>
          <a:pPr lvl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200" kern="1200" dirty="0" smtClean="0"/>
            <a:t>Fully implement all aspects of Guided Pathways</a:t>
          </a:r>
          <a:endParaRPr lang="en-US" sz="2200" kern="1200" dirty="0"/>
        </a:p>
      </dsp:txBody>
      <dsp:txXfrm>
        <a:off x="88295" y="1990195"/>
        <a:ext cx="3951452" cy="1632133"/>
      </dsp:txXfrm>
    </dsp:sp>
    <dsp:sp modelId="{49FF4B20-C543-4C90-810B-0A513909FD16}">
      <dsp:nvSpPr>
        <dsp:cNvPr id="0" name=""/>
        <dsp:cNvSpPr/>
      </dsp:nvSpPr>
      <dsp:spPr>
        <a:xfrm rot="5400000">
          <a:off x="7073925" y="1036050"/>
          <a:ext cx="1446978" cy="7338743"/>
        </a:xfrm>
        <a:prstGeom prst="round2SameRect">
          <a:avLst/>
        </a:prstGeom>
        <a:solidFill>
          <a:schemeClr val="accent5">
            <a:tint val="40000"/>
            <a:alpha val="90000"/>
            <a:hueOff val="-7391755"/>
            <a:satOff val="-12816"/>
            <a:lumOff val="-1289"/>
            <a:alphaOff val="0"/>
          </a:schemeClr>
        </a:solidFill>
        <a:ln w="12700" cap="flat" cmpd="sng" algn="ctr">
          <a:solidFill>
            <a:schemeClr val="accent5">
              <a:tint val="40000"/>
              <a:alpha val="90000"/>
              <a:hueOff val="-7391755"/>
              <a:satOff val="-12816"/>
              <a:lumOff val="-1289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9530" tIns="24765" rIns="49530" bIns="24765" numCol="1" spcCol="1270" anchor="ctr" anchorCtr="0">
          <a:noAutofit/>
        </a:bodyPr>
        <a:lstStyle/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300" kern="1200" dirty="0" smtClean="0"/>
            <a:t>Improve student completion</a:t>
          </a:r>
          <a:endParaRPr lang="en-US" sz="1300" kern="1200" dirty="0"/>
        </a:p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300" kern="1200" dirty="0" smtClean="0"/>
            <a:t>Institutionalize effective structures to reduce obligation gaps</a:t>
          </a:r>
          <a:endParaRPr lang="en-US" sz="1300" kern="1200" dirty="0"/>
        </a:p>
      </dsp:txBody>
      <dsp:txXfrm rot="-5400000">
        <a:off x="4128043" y="4052568"/>
        <a:ext cx="7268107" cy="1305706"/>
      </dsp:txXfrm>
    </dsp:sp>
    <dsp:sp modelId="{D8951C6E-08A4-4815-AFC1-0CD7B74E1DEF}">
      <dsp:nvSpPr>
        <dsp:cNvPr id="0" name=""/>
        <dsp:cNvSpPr/>
      </dsp:nvSpPr>
      <dsp:spPr>
        <a:xfrm>
          <a:off x="0" y="3801059"/>
          <a:ext cx="4128042" cy="1808723"/>
        </a:xfrm>
        <a:prstGeom prst="roundRect">
          <a:avLst/>
        </a:prstGeom>
        <a:solidFill>
          <a:schemeClr val="accent5">
            <a:hueOff val="-7353344"/>
            <a:satOff val="-10228"/>
            <a:lumOff val="-3922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3820" tIns="41910" rIns="83820" bIns="41910" numCol="1" spcCol="1270" anchor="ctr" anchorCtr="0">
          <a:noAutofit/>
        </a:bodyPr>
        <a:lstStyle/>
        <a:p>
          <a:pPr lvl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200" kern="1200" dirty="0" smtClean="0"/>
            <a:t>Focus on key aspects of strategic enrollment management to enhance equity in access and completion</a:t>
          </a:r>
          <a:endParaRPr lang="en-US" sz="2200" kern="1200" dirty="0"/>
        </a:p>
      </dsp:txBody>
      <dsp:txXfrm>
        <a:off x="88295" y="3889354"/>
        <a:ext cx="3951452" cy="1632133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531ABB9-A0CC-44AF-9D91-ABC7722708F9}">
      <dsp:nvSpPr>
        <dsp:cNvPr id="0" name=""/>
        <dsp:cNvSpPr/>
      </dsp:nvSpPr>
      <dsp:spPr>
        <a:xfrm>
          <a:off x="5420" y="2093823"/>
          <a:ext cx="2551335" cy="984815"/>
        </a:xfrm>
        <a:prstGeom prst="chevron">
          <a:avLst>
            <a:gd name="adj" fmla="val 4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8050C308-0359-4823-A719-6822CFD198D9}">
      <dsp:nvSpPr>
        <dsp:cNvPr id="0" name=""/>
        <dsp:cNvSpPr/>
      </dsp:nvSpPr>
      <dsp:spPr>
        <a:xfrm>
          <a:off x="642127" y="2614416"/>
          <a:ext cx="2154461" cy="984815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3792" tIns="113792" rIns="113792" bIns="113792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kern="1200" dirty="0" smtClean="0"/>
            <a:t>PBC names EMP Task Force Members</a:t>
          </a:r>
          <a:endParaRPr lang="en-US" sz="1600" kern="1200" dirty="0"/>
        </a:p>
      </dsp:txBody>
      <dsp:txXfrm>
        <a:off x="670971" y="2643260"/>
        <a:ext cx="2096773" cy="927127"/>
      </dsp:txXfrm>
    </dsp:sp>
    <dsp:sp modelId="{A2AFE52F-60EA-4AA3-B5C9-9FB5E9B4AE1D}">
      <dsp:nvSpPr>
        <dsp:cNvPr id="0" name=""/>
        <dsp:cNvSpPr/>
      </dsp:nvSpPr>
      <dsp:spPr>
        <a:xfrm>
          <a:off x="2919613" y="2093823"/>
          <a:ext cx="2551335" cy="984815"/>
        </a:xfrm>
        <a:prstGeom prst="chevron">
          <a:avLst>
            <a:gd name="adj" fmla="val 4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ED72BE07-5368-481E-9B08-E5EA573A2F06}">
      <dsp:nvSpPr>
        <dsp:cNvPr id="0" name=""/>
        <dsp:cNvSpPr/>
      </dsp:nvSpPr>
      <dsp:spPr>
        <a:xfrm>
          <a:off x="3522344" y="2586113"/>
          <a:ext cx="2154461" cy="984815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3792" tIns="113792" rIns="113792" bIns="113792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kern="1200" dirty="0" smtClean="0"/>
            <a:t>EMP Task Force evaluates 2017-22 EMP</a:t>
          </a:r>
          <a:endParaRPr lang="en-US" sz="1600" kern="1200" dirty="0"/>
        </a:p>
      </dsp:txBody>
      <dsp:txXfrm>
        <a:off x="3551188" y="2614957"/>
        <a:ext cx="2096773" cy="927127"/>
      </dsp:txXfrm>
    </dsp:sp>
    <dsp:sp modelId="{95A15CF2-9509-4345-B27A-F0176C2A29DB}">
      <dsp:nvSpPr>
        <dsp:cNvPr id="0" name=""/>
        <dsp:cNvSpPr/>
      </dsp:nvSpPr>
      <dsp:spPr>
        <a:xfrm>
          <a:off x="5833805" y="2093823"/>
          <a:ext cx="2551335" cy="984815"/>
        </a:xfrm>
        <a:prstGeom prst="chevron">
          <a:avLst>
            <a:gd name="adj" fmla="val 4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57F12D80-2D43-4688-AB7D-CA8D1E0A1964}">
      <dsp:nvSpPr>
        <dsp:cNvPr id="0" name=""/>
        <dsp:cNvSpPr/>
      </dsp:nvSpPr>
      <dsp:spPr>
        <a:xfrm>
          <a:off x="6456982" y="2614416"/>
          <a:ext cx="2154461" cy="984815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3792" tIns="113792" rIns="113792" bIns="113792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kern="1200" dirty="0" smtClean="0"/>
            <a:t>SCUP Training in Strategic Planning</a:t>
          </a:r>
          <a:endParaRPr lang="en-US" sz="1600" kern="1200" dirty="0"/>
        </a:p>
      </dsp:txBody>
      <dsp:txXfrm>
        <a:off x="6485826" y="2643260"/>
        <a:ext cx="2096773" cy="927127"/>
      </dsp:txXfrm>
    </dsp:sp>
    <dsp:sp modelId="{E50352E7-CD5D-4E06-B393-32A305A7BD09}">
      <dsp:nvSpPr>
        <dsp:cNvPr id="0" name=""/>
        <dsp:cNvSpPr/>
      </dsp:nvSpPr>
      <dsp:spPr>
        <a:xfrm>
          <a:off x="8747997" y="2093823"/>
          <a:ext cx="2551335" cy="984815"/>
        </a:xfrm>
        <a:prstGeom prst="chevron">
          <a:avLst>
            <a:gd name="adj" fmla="val 4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2CB01204-0281-4611-94EC-EC5A6763AADA}">
      <dsp:nvSpPr>
        <dsp:cNvPr id="0" name=""/>
        <dsp:cNvSpPr/>
      </dsp:nvSpPr>
      <dsp:spPr>
        <a:xfrm>
          <a:off x="9433774" y="2606656"/>
          <a:ext cx="2154461" cy="984815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3792" tIns="113792" rIns="113792" bIns="113792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kern="1200" dirty="0" smtClean="0"/>
            <a:t>Mission, Vision, Values Update</a:t>
          </a:r>
          <a:endParaRPr lang="en-US" sz="1600" kern="1200" dirty="0"/>
        </a:p>
      </dsp:txBody>
      <dsp:txXfrm>
        <a:off x="9462618" y="2635500"/>
        <a:ext cx="2096773" cy="927127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531ABB9-A0CC-44AF-9D91-ABC7722708F9}">
      <dsp:nvSpPr>
        <dsp:cNvPr id="0" name=""/>
        <dsp:cNvSpPr/>
      </dsp:nvSpPr>
      <dsp:spPr>
        <a:xfrm>
          <a:off x="5420" y="2093823"/>
          <a:ext cx="2551335" cy="984815"/>
        </a:xfrm>
        <a:prstGeom prst="chevron">
          <a:avLst>
            <a:gd name="adj" fmla="val 4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8050C308-0359-4823-A719-6822CFD198D9}">
      <dsp:nvSpPr>
        <dsp:cNvPr id="0" name=""/>
        <dsp:cNvSpPr/>
      </dsp:nvSpPr>
      <dsp:spPr>
        <a:xfrm>
          <a:off x="642127" y="2614416"/>
          <a:ext cx="2154461" cy="984815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9568" tIns="99568" rIns="99568" bIns="99568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kern="1200" dirty="0" smtClean="0"/>
            <a:t>EMP TF considers “Internal Scan”</a:t>
          </a:r>
          <a:endParaRPr lang="en-US" sz="1400" kern="1200" dirty="0"/>
        </a:p>
      </dsp:txBody>
      <dsp:txXfrm>
        <a:off x="670971" y="2643260"/>
        <a:ext cx="2096773" cy="927127"/>
      </dsp:txXfrm>
    </dsp:sp>
    <dsp:sp modelId="{A2AFE52F-60EA-4AA3-B5C9-9FB5E9B4AE1D}">
      <dsp:nvSpPr>
        <dsp:cNvPr id="0" name=""/>
        <dsp:cNvSpPr/>
      </dsp:nvSpPr>
      <dsp:spPr>
        <a:xfrm>
          <a:off x="2919613" y="2093823"/>
          <a:ext cx="2551335" cy="984815"/>
        </a:xfrm>
        <a:prstGeom prst="chevron">
          <a:avLst>
            <a:gd name="adj" fmla="val 4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ED72BE07-5368-481E-9B08-E5EA573A2F06}">
      <dsp:nvSpPr>
        <dsp:cNvPr id="0" name=""/>
        <dsp:cNvSpPr/>
      </dsp:nvSpPr>
      <dsp:spPr>
        <a:xfrm>
          <a:off x="3522344" y="2586113"/>
          <a:ext cx="2154461" cy="984815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9568" tIns="99568" rIns="99568" bIns="99568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kern="1200" dirty="0" smtClean="0"/>
            <a:t>EMP TF considers “External Scan”</a:t>
          </a:r>
          <a:endParaRPr lang="en-US" sz="1400" kern="1200" dirty="0"/>
        </a:p>
      </dsp:txBody>
      <dsp:txXfrm>
        <a:off x="3551188" y="2614957"/>
        <a:ext cx="2096773" cy="927127"/>
      </dsp:txXfrm>
    </dsp:sp>
    <dsp:sp modelId="{95A15CF2-9509-4345-B27A-F0176C2A29DB}">
      <dsp:nvSpPr>
        <dsp:cNvPr id="0" name=""/>
        <dsp:cNvSpPr/>
      </dsp:nvSpPr>
      <dsp:spPr>
        <a:xfrm>
          <a:off x="5833805" y="2093823"/>
          <a:ext cx="2551335" cy="984815"/>
        </a:xfrm>
        <a:prstGeom prst="chevron">
          <a:avLst>
            <a:gd name="adj" fmla="val 4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57F12D80-2D43-4688-AB7D-CA8D1E0A1964}">
      <dsp:nvSpPr>
        <dsp:cNvPr id="0" name=""/>
        <dsp:cNvSpPr/>
      </dsp:nvSpPr>
      <dsp:spPr>
        <a:xfrm>
          <a:off x="6456982" y="2614416"/>
          <a:ext cx="2154461" cy="984815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9568" tIns="99568" rIns="99568" bIns="99568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kern="1200" dirty="0" smtClean="0"/>
            <a:t>College Councils provide input on challenges and opportunities</a:t>
          </a:r>
          <a:endParaRPr lang="en-US" sz="1400" kern="1200" dirty="0"/>
        </a:p>
      </dsp:txBody>
      <dsp:txXfrm>
        <a:off x="6485826" y="2643260"/>
        <a:ext cx="2096773" cy="927127"/>
      </dsp:txXfrm>
    </dsp:sp>
    <dsp:sp modelId="{E50352E7-CD5D-4E06-B393-32A305A7BD09}">
      <dsp:nvSpPr>
        <dsp:cNvPr id="0" name=""/>
        <dsp:cNvSpPr/>
      </dsp:nvSpPr>
      <dsp:spPr>
        <a:xfrm>
          <a:off x="8747997" y="2093823"/>
          <a:ext cx="2551335" cy="984815"/>
        </a:xfrm>
        <a:prstGeom prst="chevron">
          <a:avLst>
            <a:gd name="adj" fmla="val 4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2CB01204-0281-4611-94EC-EC5A6763AADA}">
      <dsp:nvSpPr>
        <dsp:cNvPr id="0" name=""/>
        <dsp:cNvSpPr/>
      </dsp:nvSpPr>
      <dsp:spPr>
        <a:xfrm>
          <a:off x="9433774" y="2606656"/>
          <a:ext cx="2154461" cy="984815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9568" tIns="99568" rIns="99568" bIns="99568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kern="1200" dirty="0" smtClean="0"/>
            <a:t>Town Hall</a:t>
          </a:r>
          <a:endParaRPr lang="en-US" sz="1400" kern="1200" dirty="0"/>
        </a:p>
      </dsp:txBody>
      <dsp:txXfrm>
        <a:off x="9462618" y="2635500"/>
        <a:ext cx="2096773" cy="927127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531ABB9-A0CC-44AF-9D91-ABC7722708F9}">
      <dsp:nvSpPr>
        <dsp:cNvPr id="0" name=""/>
        <dsp:cNvSpPr/>
      </dsp:nvSpPr>
      <dsp:spPr>
        <a:xfrm>
          <a:off x="5420" y="2093823"/>
          <a:ext cx="2551335" cy="984815"/>
        </a:xfrm>
        <a:prstGeom prst="chevron">
          <a:avLst>
            <a:gd name="adj" fmla="val 4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8050C308-0359-4823-A719-6822CFD198D9}">
      <dsp:nvSpPr>
        <dsp:cNvPr id="0" name=""/>
        <dsp:cNvSpPr/>
      </dsp:nvSpPr>
      <dsp:spPr>
        <a:xfrm>
          <a:off x="642127" y="2614416"/>
          <a:ext cx="2154461" cy="984815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3792" tIns="113792" rIns="113792" bIns="113792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kern="1200" dirty="0" smtClean="0"/>
            <a:t>EMP Retreat:  Set goals and new strategies</a:t>
          </a:r>
          <a:endParaRPr lang="en-US" sz="1600" kern="1200" dirty="0"/>
        </a:p>
      </dsp:txBody>
      <dsp:txXfrm>
        <a:off x="670971" y="2643260"/>
        <a:ext cx="2096773" cy="927127"/>
      </dsp:txXfrm>
    </dsp:sp>
    <dsp:sp modelId="{A2AFE52F-60EA-4AA3-B5C9-9FB5E9B4AE1D}">
      <dsp:nvSpPr>
        <dsp:cNvPr id="0" name=""/>
        <dsp:cNvSpPr/>
      </dsp:nvSpPr>
      <dsp:spPr>
        <a:xfrm>
          <a:off x="2919613" y="2093823"/>
          <a:ext cx="2551335" cy="984815"/>
        </a:xfrm>
        <a:prstGeom prst="chevron">
          <a:avLst>
            <a:gd name="adj" fmla="val 4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ED72BE07-5368-481E-9B08-E5EA573A2F06}">
      <dsp:nvSpPr>
        <dsp:cNvPr id="0" name=""/>
        <dsp:cNvSpPr/>
      </dsp:nvSpPr>
      <dsp:spPr>
        <a:xfrm>
          <a:off x="3522344" y="2586113"/>
          <a:ext cx="2154461" cy="984815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3792" tIns="113792" rIns="113792" bIns="113792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kern="1200" dirty="0" smtClean="0"/>
            <a:t>Campus constituents provide input on draft EMP</a:t>
          </a:r>
          <a:endParaRPr lang="en-US" sz="1600" kern="1200" dirty="0"/>
        </a:p>
      </dsp:txBody>
      <dsp:txXfrm>
        <a:off x="3551188" y="2614957"/>
        <a:ext cx="2096773" cy="927127"/>
      </dsp:txXfrm>
    </dsp:sp>
    <dsp:sp modelId="{95A15CF2-9509-4345-B27A-F0176C2A29DB}">
      <dsp:nvSpPr>
        <dsp:cNvPr id="0" name=""/>
        <dsp:cNvSpPr/>
      </dsp:nvSpPr>
      <dsp:spPr>
        <a:xfrm>
          <a:off x="5833805" y="2093823"/>
          <a:ext cx="2551335" cy="984815"/>
        </a:xfrm>
        <a:prstGeom prst="chevron">
          <a:avLst>
            <a:gd name="adj" fmla="val 4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57F12D80-2D43-4688-AB7D-CA8D1E0A1964}">
      <dsp:nvSpPr>
        <dsp:cNvPr id="0" name=""/>
        <dsp:cNvSpPr/>
      </dsp:nvSpPr>
      <dsp:spPr>
        <a:xfrm>
          <a:off x="6456982" y="2614416"/>
          <a:ext cx="2154461" cy="984815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3792" tIns="113792" rIns="113792" bIns="113792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kern="1200" dirty="0" smtClean="0"/>
            <a:t>PBC considers draft EMP</a:t>
          </a:r>
          <a:endParaRPr lang="en-US" sz="1600" kern="1200" dirty="0"/>
        </a:p>
      </dsp:txBody>
      <dsp:txXfrm>
        <a:off x="6485826" y="2643260"/>
        <a:ext cx="2096773" cy="927127"/>
      </dsp:txXfrm>
    </dsp:sp>
    <dsp:sp modelId="{E50352E7-CD5D-4E06-B393-32A305A7BD09}">
      <dsp:nvSpPr>
        <dsp:cNvPr id="0" name=""/>
        <dsp:cNvSpPr/>
      </dsp:nvSpPr>
      <dsp:spPr>
        <a:xfrm>
          <a:off x="8747997" y="2093823"/>
          <a:ext cx="2551335" cy="984815"/>
        </a:xfrm>
        <a:prstGeom prst="chevron">
          <a:avLst>
            <a:gd name="adj" fmla="val 4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2CB01204-0281-4611-94EC-EC5A6763AADA}">
      <dsp:nvSpPr>
        <dsp:cNvPr id="0" name=""/>
        <dsp:cNvSpPr/>
      </dsp:nvSpPr>
      <dsp:spPr>
        <a:xfrm>
          <a:off x="9433774" y="2606656"/>
          <a:ext cx="2154461" cy="984815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3792" tIns="113792" rIns="113792" bIns="113792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kern="1200" dirty="0" smtClean="0"/>
            <a:t>PBC adopts new EMP for 2022-27</a:t>
          </a:r>
          <a:endParaRPr lang="en-US" sz="1600" kern="1200" dirty="0"/>
        </a:p>
      </dsp:txBody>
      <dsp:txXfrm>
        <a:off x="9462618" y="2635500"/>
        <a:ext cx="2096773" cy="927127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List5">
  <dgm:title val=""/>
  <dgm:desc val=""/>
  <dgm:catLst>
    <dgm:cat type="list" pri="15000"/>
    <dgm:cat type="convert" pri="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>
          <dgm:param type="linDir" val="fromT"/>
          <dgm:param type="nodeHorzAlign" val="l"/>
        </dgm:alg>
      </dgm:if>
      <dgm:else name="Name3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linNode" refType="h"/>
      <dgm:constr type="w" for="ch" forName="linNode" refType="w"/>
      <dgm:constr type="h" for="ch" forName="sp" refType="h" fact="0.05"/>
      <dgm:constr type="primFontSz" for="des" forName="parentText" op="equ" val="65"/>
      <dgm:constr type="secFontSz" for="des" forName="descendantText" op="equ"/>
    </dgm:constrLst>
    <dgm:ruleLst/>
    <dgm:forEach name="Name4" axis="ch" ptType="node">
      <dgm:layoutNode name="linNode">
        <dgm:choose name="Name5">
          <dgm:if name="Name6" func="var" arg="dir" op="equ" val="norm">
            <dgm:alg type="lin">
              <dgm:param type="linDir" val="fromL"/>
            </dgm:alg>
          </dgm:if>
          <dgm:else name="Name7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forName="parentText" refType="w" fact="0.36"/>
          <dgm:constr type="w" for="ch" forName="descendantText" refType="w" fact="0.64"/>
          <dgm:constr type="h" for="ch" forName="parentText" refType="h"/>
          <dgm:constr type="h" for="ch" forName="descendantText" refType="h" refFor="ch" refForName="parentText" fact="0.8"/>
        </dgm:constrLst>
        <dgm:ruleLst/>
        <dgm:layoutNode name="parentText">
          <dgm:varLst>
            <dgm:chMax val="1"/>
            <dgm:bulletEnabled val="1"/>
          </dgm:varLst>
          <dgm:alg type="tx"/>
          <dgm:shape xmlns:r="http://schemas.openxmlformats.org/officeDocument/2006/relationships" type="roundRect" r:blip="" zOrderOff="3">
            <dgm:adjLst/>
          </dgm:shape>
          <dgm:presOf axis="self" ptType="node"/>
          <dgm:constrLst>
            <dgm:constr type="tMarg" refType="primFontSz" fact="0.15"/>
            <dgm:constr type="bMarg" refType="primFontSz" fact="0.15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choose name="Name8">
          <dgm:if name="Name9" axis="ch" ptType="node" func="cnt" op="gte" val="1">
            <dgm:layoutNode name="descendantText" styleLbl="alignAccFollowNode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choose name="Name10">
                <dgm:if name="Name11" func="var" arg="dir" op="equ" val="norm">
                  <dgm:shape xmlns:r="http://schemas.openxmlformats.org/officeDocument/2006/relationships" rot="90" type="round2SameRect" r:blip="">
                    <dgm:adjLst/>
                  </dgm:shape>
                </dgm:if>
                <dgm:else name="Name12">
                  <dgm:shape xmlns:r="http://schemas.openxmlformats.org/officeDocument/2006/relationships" rot="-90" type="round2SameRect" r:blip="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lMarg" refType="secFontSz" fact="0.3"/>
                <dgm:constr type="rMarg" refType="secFontSz" fact="0.3"/>
                <dgm:constr type="tMarg" refType="secFontSz" fact="0.15"/>
                <dgm:constr type="bMarg" refType="secFontSz" fact="0.15"/>
              </dgm:constrLst>
              <dgm:ruleLst>
                <dgm:rule type="secFontSz" val="5" fact="NaN" max="NaN"/>
              </dgm:ruleLst>
            </dgm:layoutNode>
          </dgm:if>
          <dgm:else name="Name13"/>
        </dgm:choose>
      </dgm:layoutNode>
      <dgm:forEach name="Name14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chevronAccent+Icon">
  <dgm:title val="Chevron Accent Process"/>
  <dgm:desc val="Use to show sequential steps in a task, process, or workflow, or to emphasize movement or direction. Works best with minimal Level 1 and Level 2 text."/>
  <dgm:catLst>
    <dgm:cat type="process" pri="9500"/>
    <dgm:cat type="officeonline" pri="2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composite" refType="w"/>
      <dgm:constr type="primFontSz" for="des" forName="txNode" op="equ" val="65"/>
      <dgm:constr type="w" for="ch" forName="compositeSpace" refType="w" refFor="ch" refForName="composite" fact="0.028"/>
    </dgm:constrLst>
    <dgm:ruleLst/>
    <dgm:forEach name="Name4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5">
          <dgm:if name="Name6" func="var" arg="dir" op="equ" val="norm">
            <dgm:constrLst>
              <dgm:constr type="l" for="ch" forName="bgChev"/>
              <dgm:constr type="w" for="ch" forName="bgChev" refType="w" fact="0.9"/>
              <dgm:constr type="t" for="ch" forName="bgChev"/>
              <dgm:constr type="h" for="ch" forName="bgChev" refType="w" refFor="ch" refForName="bgChev" fact="0.386"/>
              <dgm:constr type="l" for="ch" forName="txNode" refType="w" fact="0.24"/>
              <dgm:constr type="w" for="ch" forName="txNode" refType="w" fact="0.76"/>
              <dgm:constr type="t" for="ch" forName="txNode" refType="h" refFor="ch" refForName="bgChev" fact="0.25"/>
              <dgm:constr type="h" for="ch" forName="txNode" refType="h" refFor="ch" refForName="bgChev"/>
            </dgm:constrLst>
          </dgm:if>
          <dgm:else name="Name7">
            <dgm:constrLst>
              <dgm:constr type="l" for="ch" forName="bgChev" refType="w" fact="0.1"/>
              <dgm:constr type="w" for="ch" forName="bgChev" refType="w" fact="0.9"/>
              <dgm:constr type="t" for="ch" forName="bgChev"/>
              <dgm:constr type="h" for="ch" forName="bgChev" refType="w" refFor="ch" refForName="bgChev" fact="0.386"/>
              <dgm:constr type="l" for="ch" forName="txNode"/>
              <dgm:constr type="w" for="ch" forName="txNode" refType="w" fact="0.76"/>
              <dgm:constr type="t" for="ch" forName="txNode" refType="h" refFor="ch" refForName="bgChev" fact="0.25"/>
              <dgm:constr type="h" for="ch" forName="txNode" refType="h" refFor="ch" refForName="bgChev"/>
            </dgm:constrLst>
          </dgm:else>
        </dgm:choose>
        <dgm:ruleLst/>
        <dgm:layoutNode name="bgChev" styleLbl="node1">
          <dgm:alg type="sp"/>
          <dgm:choose name="Name8">
            <dgm:if name="Name9" func="var" arg="dir" op="equ" val="norm">
              <dgm:shape xmlns:r="http://schemas.openxmlformats.org/officeDocument/2006/relationships" type="chevron" r:blip="">
                <dgm:adjLst>
                  <dgm:adj idx="1" val="0.4"/>
                </dgm:adjLst>
              </dgm:shape>
            </dgm:if>
            <dgm:else name="Name10">
              <dgm:shape xmlns:r="http://schemas.openxmlformats.org/officeDocument/2006/relationships" rot="180" type="chevron" r:blip="">
                <dgm:adjLst>
                  <dgm:adj idx="1" val="0.4"/>
                </dgm:adjLst>
              </dgm:shape>
            </dgm:else>
          </dgm:choose>
          <dgm:presOf/>
          <dgm:constrLst/>
        </dgm:layoutNode>
        <dgm:layoutNode name="txNode" styleLbl="fgAcc1">
          <dgm:varLst>
            <dgm:bulletEnabled val="1"/>
          </dgm:varLst>
          <dgm:alg type="tx"/>
          <dgm:shape xmlns:r="http://schemas.openxmlformats.org/officeDocument/2006/relationships" type="roundRect" r:blip="">
            <dgm:adjLst>
              <dgm:adj idx="1" val="0.1"/>
            </dgm:adjLst>
          </dgm:shape>
          <dgm:presOf axis="desOrSelf" ptType="node"/>
          <dgm:ruleLst>
            <dgm:rule type="primFontSz" val="5" fact="NaN" max="NaN"/>
          </dgm:ruleLst>
        </dgm:layoutNode>
      </dgm:layoutNode>
      <dgm:forEach name="Name11" axis="followSib" ptType="sibTrans" cnt="1">
        <dgm:layoutNode name="compositeSpace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chevronAccent+Icon">
  <dgm:title val="Chevron Accent Process"/>
  <dgm:desc val="Use to show sequential steps in a task, process, or workflow, or to emphasize movement or direction. Works best with minimal Level 1 and Level 2 text."/>
  <dgm:catLst>
    <dgm:cat type="process" pri="9500"/>
    <dgm:cat type="officeonline" pri="2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composite" refType="w"/>
      <dgm:constr type="primFontSz" for="des" forName="txNode" op="equ" val="65"/>
      <dgm:constr type="w" for="ch" forName="compositeSpace" refType="w" refFor="ch" refForName="composite" fact="0.028"/>
    </dgm:constrLst>
    <dgm:ruleLst/>
    <dgm:forEach name="Name4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5">
          <dgm:if name="Name6" func="var" arg="dir" op="equ" val="norm">
            <dgm:constrLst>
              <dgm:constr type="l" for="ch" forName="bgChev"/>
              <dgm:constr type="w" for="ch" forName="bgChev" refType="w" fact="0.9"/>
              <dgm:constr type="t" for="ch" forName="bgChev"/>
              <dgm:constr type="h" for="ch" forName="bgChev" refType="w" refFor="ch" refForName="bgChev" fact="0.386"/>
              <dgm:constr type="l" for="ch" forName="txNode" refType="w" fact="0.24"/>
              <dgm:constr type="w" for="ch" forName="txNode" refType="w" fact="0.76"/>
              <dgm:constr type="t" for="ch" forName="txNode" refType="h" refFor="ch" refForName="bgChev" fact="0.25"/>
              <dgm:constr type="h" for="ch" forName="txNode" refType="h" refFor="ch" refForName="bgChev"/>
            </dgm:constrLst>
          </dgm:if>
          <dgm:else name="Name7">
            <dgm:constrLst>
              <dgm:constr type="l" for="ch" forName="bgChev" refType="w" fact="0.1"/>
              <dgm:constr type="w" for="ch" forName="bgChev" refType="w" fact="0.9"/>
              <dgm:constr type="t" for="ch" forName="bgChev"/>
              <dgm:constr type="h" for="ch" forName="bgChev" refType="w" refFor="ch" refForName="bgChev" fact="0.386"/>
              <dgm:constr type="l" for="ch" forName="txNode"/>
              <dgm:constr type="w" for="ch" forName="txNode" refType="w" fact="0.76"/>
              <dgm:constr type="t" for="ch" forName="txNode" refType="h" refFor="ch" refForName="bgChev" fact="0.25"/>
              <dgm:constr type="h" for="ch" forName="txNode" refType="h" refFor="ch" refForName="bgChev"/>
            </dgm:constrLst>
          </dgm:else>
        </dgm:choose>
        <dgm:ruleLst/>
        <dgm:layoutNode name="bgChev" styleLbl="node1">
          <dgm:alg type="sp"/>
          <dgm:choose name="Name8">
            <dgm:if name="Name9" func="var" arg="dir" op="equ" val="norm">
              <dgm:shape xmlns:r="http://schemas.openxmlformats.org/officeDocument/2006/relationships" type="chevron" r:blip="">
                <dgm:adjLst>
                  <dgm:adj idx="1" val="0.4"/>
                </dgm:adjLst>
              </dgm:shape>
            </dgm:if>
            <dgm:else name="Name10">
              <dgm:shape xmlns:r="http://schemas.openxmlformats.org/officeDocument/2006/relationships" rot="180" type="chevron" r:blip="">
                <dgm:adjLst>
                  <dgm:adj idx="1" val="0.4"/>
                </dgm:adjLst>
              </dgm:shape>
            </dgm:else>
          </dgm:choose>
          <dgm:presOf/>
          <dgm:constrLst/>
        </dgm:layoutNode>
        <dgm:layoutNode name="txNode" styleLbl="fgAcc1">
          <dgm:varLst>
            <dgm:bulletEnabled val="1"/>
          </dgm:varLst>
          <dgm:alg type="tx"/>
          <dgm:shape xmlns:r="http://schemas.openxmlformats.org/officeDocument/2006/relationships" type="roundRect" r:blip="">
            <dgm:adjLst>
              <dgm:adj idx="1" val="0.1"/>
            </dgm:adjLst>
          </dgm:shape>
          <dgm:presOf axis="desOrSelf" ptType="node"/>
          <dgm:ruleLst>
            <dgm:rule type="primFontSz" val="5" fact="NaN" max="NaN"/>
          </dgm:ruleLst>
        </dgm:layoutNode>
      </dgm:layoutNode>
      <dgm:forEach name="Name11" axis="followSib" ptType="sibTrans" cnt="1">
        <dgm:layoutNode name="compositeSpace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chevronAccent+Icon">
  <dgm:title val="Chevron Accent Process"/>
  <dgm:desc val="Use to show sequential steps in a task, process, or workflow, or to emphasize movement or direction. Works best with minimal Level 1 and Level 2 text."/>
  <dgm:catLst>
    <dgm:cat type="process" pri="9500"/>
    <dgm:cat type="officeonline" pri="2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composite" refType="w"/>
      <dgm:constr type="primFontSz" for="des" forName="txNode" op="equ" val="65"/>
      <dgm:constr type="w" for="ch" forName="compositeSpace" refType="w" refFor="ch" refForName="composite" fact="0.028"/>
    </dgm:constrLst>
    <dgm:ruleLst/>
    <dgm:forEach name="Name4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5">
          <dgm:if name="Name6" func="var" arg="dir" op="equ" val="norm">
            <dgm:constrLst>
              <dgm:constr type="l" for="ch" forName="bgChev"/>
              <dgm:constr type="w" for="ch" forName="bgChev" refType="w" fact="0.9"/>
              <dgm:constr type="t" for="ch" forName="bgChev"/>
              <dgm:constr type="h" for="ch" forName="bgChev" refType="w" refFor="ch" refForName="bgChev" fact="0.386"/>
              <dgm:constr type="l" for="ch" forName="txNode" refType="w" fact="0.24"/>
              <dgm:constr type="w" for="ch" forName="txNode" refType="w" fact="0.76"/>
              <dgm:constr type="t" for="ch" forName="txNode" refType="h" refFor="ch" refForName="bgChev" fact="0.25"/>
              <dgm:constr type="h" for="ch" forName="txNode" refType="h" refFor="ch" refForName="bgChev"/>
            </dgm:constrLst>
          </dgm:if>
          <dgm:else name="Name7">
            <dgm:constrLst>
              <dgm:constr type="l" for="ch" forName="bgChev" refType="w" fact="0.1"/>
              <dgm:constr type="w" for="ch" forName="bgChev" refType="w" fact="0.9"/>
              <dgm:constr type="t" for="ch" forName="bgChev"/>
              <dgm:constr type="h" for="ch" forName="bgChev" refType="w" refFor="ch" refForName="bgChev" fact="0.386"/>
              <dgm:constr type="l" for="ch" forName="txNode"/>
              <dgm:constr type="w" for="ch" forName="txNode" refType="w" fact="0.76"/>
              <dgm:constr type="t" for="ch" forName="txNode" refType="h" refFor="ch" refForName="bgChev" fact="0.25"/>
              <dgm:constr type="h" for="ch" forName="txNode" refType="h" refFor="ch" refForName="bgChev"/>
            </dgm:constrLst>
          </dgm:else>
        </dgm:choose>
        <dgm:ruleLst/>
        <dgm:layoutNode name="bgChev" styleLbl="node1">
          <dgm:alg type="sp"/>
          <dgm:choose name="Name8">
            <dgm:if name="Name9" func="var" arg="dir" op="equ" val="norm">
              <dgm:shape xmlns:r="http://schemas.openxmlformats.org/officeDocument/2006/relationships" type="chevron" r:blip="">
                <dgm:adjLst>
                  <dgm:adj idx="1" val="0.4"/>
                </dgm:adjLst>
              </dgm:shape>
            </dgm:if>
            <dgm:else name="Name10">
              <dgm:shape xmlns:r="http://schemas.openxmlformats.org/officeDocument/2006/relationships" rot="180" type="chevron" r:blip="">
                <dgm:adjLst>
                  <dgm:adj idx="1" val="0.4"/>
                </dgm:adjLst>
              </dgm:shape>
            </dgm:else>
          </dgm:choose>
          <dgm:presOf/>
          <dgm:constrLst/>
        </dgm:layoutNode>
        <dgm:layoutNode name="txNode" styleLbl="fgAcc1">
          <dgm:varLst>
            <dgm:bulletEnabled val="1"/>
          </dgm:varLst>
          <dgm:alg type="tx"/>
          <dgm:shape xmlns:r="http://schemas.openxmlformats.org/officeDocument/2006/relationships" type="roundRect" r:blip="">
            <dgm:adjLst>
              <dgm:adj idx="1" val="0.1"/>
            </dgm:adjLst>
          </dgm:shape>
          <dgm:presOf axis="desOrSelf" ptType="node"/>
          <dgm:ruleLst>
            <dgm:rule type="primFontSz" val="5" fact="NaN" max="NaN"/>
          </dgm:ruleLst>
        </dgm:layoutNode>
      </dgm:layoutNode>
      <dgm:forEach name="Name11" axis="followSib" ptType="sibTrans" cnt="1">
        <dgm:layoutNode name="compositeSpace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70938" y="0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/>
            </a:lvl1pPr>
          </a:lstStyle>
          <a:p>
            <a:fld id="{10912C5E-5ECA-4B7C-8FF5-B46AC71EF330}" type="datetimeFigureOut">
              <a:rPr lang="en-US" smtClean="0"/>
              <a:t>8/17/2021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829967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0938" y="8829967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/>
            </a:lvl1pPr>
          </a:lstStyle>
          <a:p>
            <a:fld id="{3450ECB3-A3F7-4337-9F98-DFD14FAD1FE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6577276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938" y="0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/>
            </a:lvl1pPr>
          </a:lstStyle>
          <a:p>
            <a:fld id="{8AEC6874-87D3-4708-86B1-114C1FEE74C4}" type="datetimeFigureOut">
              <a:rPr lang="en-US" smtClean="0"/>
              <a:t>8/17/2021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17550" y="1162050"/>
            <a:ext cx="5575300" cy="31369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177" tIns="46589" rIns="93177" bIns="46589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040" y="4473892"/>
            <a:ext cx="5608320" cy="3660458"/>
          </a:xfrm>
          <a:prstGeom prst="rect">
            <a:avLst/>
          </a:prstGeom>
        </p:spPr>
        <p:txBody>
          <a:bodyPr vert="horz" lIns="93177" tIns="46589" rIns="93177" bIns="46589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967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938" y="8829967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/>
            </a:lvl1pPr>
          </a:lstStyle>
          <a:p>
            <a:fld id="{1B90EF27-1900-472B-B1D5-4FBEA200263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7925771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B90EF27-1900-472B-B1D5-4FBEA200263F}" type="slidenum">
              <a:rPr lang="en-US" smtClean="0"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4448881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4" name="Google Shape;94;ge5ee8ef1f3_0_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95" name="Google Shape;95;ge5ee8ef1f3_0_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920942363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" name="Google Shape;104;ge5ee8ef1f3_0_17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05" name="Google Shape;105;ge5ee8ef1f3_0_17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785038019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3" name="Google Shape;113;ge6f8cdf5de_0_2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14" name="Google Shape;114;ge6f8cdf5de_0_2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891860959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2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" name="Google Shape;122;ge6f8cdf5de_0_32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23" name="Google Shape;123;ge6f8cdf5de_0_32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455883690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1" name="Google Shape;131;ge6f8cdf5de_0_4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32" name="Google Shape;132;ge6f8cdf5de_0_4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17685811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3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0" name="Google Shape;140;ge6f8cdf5de_0_1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41" name="Google Shape;141;ge6f8cdf5de_0_1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920075169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4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8" name="Google Shape;148;ge6f8cdf5de_0_17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49" name="Google Shape;149;ge6f8cdf5de_0_17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082066162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5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6" name="Google Shape;156;ge41e4e7e94_0_6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57" name="Google Shape;157;ge41e4e7e94_0_6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948949067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6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4" name="Google Shape;164;ge41e4e7e94_0_48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65" name="Google Shape;165;ge41e4e7e94_0_48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72200485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Faculty led the launch of a new Ethnic Studies program of study and CSU approved courses for transfer</a:t>
            </a:r>
          </a:p>
          <a:p>
            <a:r>
              <a:rPr lang="en-US" dirty="0"/>
              <a:t>Faculty led the launch of a new </a:t>
            </a:r>
            <a:r>
              <a:rPr lang="en-US" dirty="0" err="1"/>
              <a:t>Umoja</a:t>
            </a:r>
            <a:r>
              <a:rPr lang="en-US" dirty="0"/>
              <a:t> program which is actively enrolling students now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9FE1FF1-0E9C-4A1C-ACC2-AEC6216313A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0617534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otes Placeholder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0422333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otes Placeholder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77126646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otes Placeholder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09231616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" name="Google Shape;51;p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52" name="Google Shape;52;p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30428388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" name="Google Shape;63;ge28f47739d_0_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64" name="Google Shape;64;ge28f47739d_0_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07515639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" name="Google Shape;77;gb82dbf1a0e_0_18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78" name="Google Shape;78;gb82dbf1a0e_0_18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23419568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5" name="Google Shape;85;ge6f8cdf5de_0_1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86" name="Google Shape;86;ge6f8cdf5de_0_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51479483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6C341C4-3268-4241-9C56-054F2F7015E6}" type="datetimeFigureOut">
              <a:rPr lang="en-US" smtClean="0"/>
              <a:t>8/17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2FE41E-F334-4083-80DF-E3288B8CA3F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7722785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6C341C4-3268-4241-9C56-054F2F7015E6}" type="datetimeFigureOut">
              <a:rPr lang="en-US" smtClean="0"/>
              <a:t>8/17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2FE41E-F334-4083-80DF-E3288B8CA3F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977157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6C341C4-3268-4241-9C56-054F2F7015E6}" type="datetimeFigureOut">
              <a:rPr lang="en-US" smtClean="0"/>
              <a:t>8/17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2FE41E-F334-4083-80DF-E3288B8CA3F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1177007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2800" b="0" i="0">
                <a:solidFill>
                  <a:schemeClr val="tx1"/>
                </a:solidFill>
                <a:latin typeface="Century Gothic"/>
                <a:cs typeface="Century Gothic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2191747" y="2668789"/>
            <a:ext cx="2545927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600" b="0" i="0">
                <a:solidFill>
                  <a:schemeClr val="tx1"/>
                </a:solidFill>
                <a:latin typeface="Century Gothic"/>
                <a:cs typeface="Century Gothic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6272784" y="1616203"/>
            <a:ext cx="3657600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>
              <a:defRPr sz="600" b="1" i="0">
                <a:solidFill>
                  <a:schemeClr val="tx1"/>
                </a:solidFill>
                <a:latin typeface="Century Gothic"/>
                <a:cs typeface="Century Gothic"/>
              </a:defRPr>
            </a:lvl1pPr>
          </a:lstStyle>
          <a:p>
            <a:pPr marL="12700">
              <a:spcBef>
                <a:spcPts val="95"/>
              </a:spcBef>
            </a:pPr>
            <a:r>
              <a:rPr lang="pt-BR" spc="30" smtClean="0"/>
              <a:t>J</a:t>
            </a:r>
            <a:r>
              <a:rPr lang="pt-BR" spc="-5" smtClean="0"/>
              <a:t> </a:t>
            </a:r>
            <a:r>
              <a:rPr lang="pt-BR" spc="30" smtClean="0"/>
              <a:t>O</a:t>
            </a:r>
            <a:r>
              <a:rPr lang="pt-BR" smtClean="0"/>
              <a:t> </a:t>
            </a:r>
            <a:r>
              <a:rPr lang="pt-BR" spc="30" smtClean="0"/>
              <a:t>H</a:t>
            </a:r>
            <a:r>
              <a:rPr lang="pt-BR" smtClean="0"/>
              <a:t> N  </a:t>
            </a:r>
            <a:r>
              <a:rPr lang="pt-BR" spc="65" smtClean="0"/>
              <a:t> </a:t>
            </a:r>
            <a:r>
              <a:rPr lang="pt-BR" spc="30" smtClean="0"/>
              <a:t>W</a:t>
            </a:r>
            <a:r>
              <a:rPr lang="pt-BR" spc="-5" smtClean="0"/>
              <a:t> </a:t>
            </a:r>
            <a:r>
              <a:rPr lang="pt-BR" smtClean="0"/>
              <a:t>.  </a:t>
            </a:r>
            <a:r>
              <a:rPr lang="pt-BR" spc="45" smtClean="0"/>
              <a:t> </a:t>
            </a:r>
            <a:r>
              <a:rPr lang="pt-BR" spc="30" smtClean="0"/>
              <a:t>G</a:t>
            </a:r>
            <a:r>
              <a:rPr lang="pt-BR" smtClean="0"/>
              <a:t> </a:t>
            </a:r>
            <a:r>
              <a:rPr lang="pt-BR" spc="30" smtClean="0"/>
              <a:t>A</a:t>
            </a:r>
            <a:r>
              <a:rPr lang="pt-BR" smtClean="0"/>
              <a:t> </a:t>
            </a:r>
            <a:r>
              <a:rPr lang="pt-BR" spc="30" smtClean="0"/>
              <a:t>R</a:t>
            </a:r>
            <a:r>
              <a:rPr lang="pt-BR" spc="-5" smtClean="0"/>
              <a:t> </a:t>
            </a:r>
            <a:r>
              <a:rPr lang="pt-BR" spc="30" smtClean="0"/>
              <a:t>D</a:t>
            </a:r>
            <a:r>
              <a:rPr lang="pt-BR" smtClean="0"/>
              <a:t> </a:t>
            </a:r>
            <a:r>
              <a:rPr lang="pt-BR" spc="30" smtClean="0"/>
              <a:t>N</a:t>
            </a:r>
            <a:r>
              <a:rPr lang="pt-BR" smtClean="0"/>
              <a:t> </a:t>
            </a:r>
            <a:r>
              <a:rPr lang="pt-BR" spc="30" smtClean="0"/>
              <a:t>E</a:t>
            </a:r>
            <a:r>
              <a:rPr lang="pt-BR" spc="-5" smtClean="0"/>
              <a:t> </a:t>
            </a:r>
            <a:r>
              <a:rPr lang="pt-BR" smtClean="0"/>
              <a:t>R  </a:t>
            </a:r>
            <a:r>
              <a:rPr lang="pt-BR" spc="80" smtClean="0"/>
              <a:t> </a:t>
            </a:r>
            <a:r>
              <a:rPr lang="pt-BR" spc="30" smtClean="0"/>
              <a:t>C</a:t>
            </a:r>
            <a:r>
              <a:rPr lang="pt-BR" spc="-5" smtClean="0"/>
              <a:t> </a:t>
            </a:r>
            <a:r>
              <a:rPr lang="pt-BR" spc="30" smtClean="0"/>
              <a:t>E</a:t>
            </a:r>
            <a:r>
              <a:rPr lang="pt-BR" smtClean="0"/>
              <a:t> </a:t>
            </a:r>
            <a:r>
              <a:rPr lang="pt-BR" spc="30" smtClean="0"/>
              <a:t>N</a:t>
            </a:r>
            <a:r>
              <a:rPr lang="pt-BR" smtClean="0"/>
              <a:t> </a:t>
            </a:r>
            <a:r>
              <a:rPr lang="pt-BR" spc="30" smtClean="0"/>
              <a:t>T</a:t>
            </a:r>
            <a:r>
              <a:rPr lang="pt-BR" smtClean="0"/>
              <a:t> </a:t>
            </a:r>
            <a:r>
              <a:rPr lang="pt-BR" spc="30" smtClean="0"/>
              <a:t>E</a:t>
            </a:r>
            <a:r>
              <a:rPr lang="pt-BR" spc="-5" smtClean="0"/>
              <a:t> </a:t>
            </a:r>
            <a:r>
              <a:rPr lang="pt-BR" smtClean="0"/>
              <a:t>R  </a:t>
            </a:r>
            <a:r>
              <a:rPr lang="pt-BR" spc="65" smtClean="0"/>
              <a:t> </a:t>
            </a:r>
            <a:r>
              <a:rPr lang="pt-BR" spc="30" smtClean="0"/>
              <a:t>F</a:t>
            </a:r>
            <a:r>
              <a:rPr lang="pt-BR" smtClean="0"/>
              <a:t> </a:t>
            </a:r>
            <a:r>
              <a:rPr lang="pt-BR" spc="30" smtClean="0"/>
              <a:t>O</a:t>
            </a:r>
            <a:r>
              <a:rPr lang="pt-BR" smtClean="0"/>
              <a:t> R  </a:t>
            </a:r>
            <a:r>
              <a:rPr lang="pt-BR" spc="55" smtClean="0"/>
              <a:t> </a:t>
            </a:r>
            <a:r>
              <a:rPr lang="pt-BR" spc="30" smtClean="0"/>
              <a:t>Y</a:t>
            </a:r>
            <a:r>
              <a:rPr lang="pt-BR" spc="-5" smtClean="0"/>
              <a:t> </a:t>
            </a:r>
            <a:r>
              <a:rPr lang="pt-BR" spc="30" smtClean="0"/>
              <a:t>O</a:t>
            </a:r>
            <a:r>
              <a:rPr lang="pt-BR" smtClean="0"/>
              <a:t> </a:t>
            </a:r>
            <a:r>
              <a:rPr lang="pt-BR" spc="30" smtClean="0"/>
              <a:t>U</a:t>
            </a:r>
            <a:r>
              <a:rPr lang="pt-BR" smtClean="0"/>
              <a:t> </a:t>
            </a:r>
            <a:r>
              <a:rPr lang="pt-BR" spc="30" smtClean="0"/>
              <a:t>T</a:t>
            </a:r>
            <a:r>
              <a:rPr lang="pt-BR" spc="-5" smtClean="0"/>
              <a:t> </a:t>
            </a:r>
            <a:r>
              <a:rPr lang="pt-BR" smtClean="0"/>
              <a:t>H  </a:t>
            </a:r>
            <a:r>
              <a:rPr lang="pt-BR" spc="65" smtClean="0"/>
              <a:t> </a:t>
            </a:r>
            <a:r>
              <a:rPr lang="pt-BR" spc="30" smtClean="0"/>
              <a:t>A</a:t>
            </a:r>
            <a:r>
              <a:rPr lang="pt-BR" smtClean="0"/>
              <a:t> </a:t>
            </a:r>
            <a:r>
              <a:rPr lang="pt-BR" spc="30" smtClean="0"/>
              <a:t>N</a:t>
            </a:r>
            <a:r>
              <a:rPr lang="pt-BR" smtClean="0"/>
              <a:t> D  </a:t>
            </a:r>
            <a:r>
              <a:rPr lang="pt-BR" spc="70" smtClean="0"/>
              <a:t> </a:t>
            </a:r>
            <a:r>
              <a:rPr lang="pt-BR" spc="30" smtClean="0"/>
              <a:t>T</a:t>
            </a:r>
            <a:r>
              <a:rPr lang="pt-BR" spc="-5" smtClean="0"/>
              <a:t> </a:t>
            </a:r>
            <a:r>
              <a:rPr lang="pt-BR" spc="30" smtClean="0"/>
              <a:t>H</a:t>
            </a:r>
            <a:r>
              <a:rPr lang="pt-BR" smtClean="0"/>
              <a:t> </a:t>
            </a:r>
            <a:r>
              <a:rPr lang="pt-BR" spc="30" smtClean="0"/>
              <a:t>E</a:t>
            </a:r>
            <a:r>
              <a:rPr lang="pt-BR" smtClean="0"/>
              <a:t> </a:t>
            </a:r>
            <a:r>
              <a:rPr lang="pt-BR" spc="30" smtClean="0"/>
              <a:t>I</a:t>
            </a:r>
            <a:r>
              <a:rPr lang="pt-BR" spc="-5" smtClean="0"/>
              <a:t> </a:t>
            </a:r>
            <a:r>
              <a:rPr lang="pt-BR" smtClean="0"/>
              <a:t>R  </a:t>
            </a:r>
            <a:r>
              <a:rPr lang="pt-BR" spc="60" smtClean="0"/>
              <a:t> </a:t>
            </a:r>
            <a:r>
              <a:rPr lang="pt-BR" spc="30" smtClean="0"/>
              <a:t>C</a:t>
            </a:r>
            <a:r>
              <a:rPr lang="pt-BR" smtClean="0"/>
              <a:t> </a:t>
            </a:r>
            <a:r>
              <a:rPr lang="pt-BR" spc="30" smtClean="0"/>
              <a:t>O</a:t>
            </a:r>
            <a:r>
              <a:rPr lang="pt-BR" smtClean="0"/>
              <a:t> </a:t>
            </a:r>
            <a:r>
              <a:rPr lang="pt-BR" spc="30" smtClean="0"/>
              <a:t>M</a:t>
            </a:r>
            <a:r>
              <a:rPr lang="pt-BR" spc="-5" smtClean="0"/>
              <a:t> </a:t>
            </a:r>
            <a:r>
              <a:rPr lang="pt-BR" spc="30" smtClean="0"/>
              <a:t>M</a:t>
            </a:r>
            <a:r>
              <a:rPr lang="pt-BR" smtClean="0"/>
              <a:t> </a:t>
            </a:r>
            <a:r>
              <a:rPr lang="pt-BR" spc="30" smtClean="0"/>
              <a:t>U</a:t>
            </a:r>
            <a:r>
              <a:rPr lang="pt-BR" smtClean="0"/>
              <a:t> </a:t>
            </a:r>
            <a:r>
              <a:rPr lang="pt-BR" spc="30" smtClean="0"/>
              <a:t>N</a:t>
            </a:r>
            <a:r>
              <a:rPr lang="pt-BR" spc="-5" smtClean="0"/>
              <a:t> </a:t>
            </a:r>
            <a:r>
              <a:rPr lang="pt-BR" spc="30" smtClean="0"/>
              <a:t>I</a:t>
            </a:r>
            <a:r>
              <a:rPr lang="pt-BR" smtClean="0"/>
              <a:t> </a:t>
            </a:r>
            <a:r>
              <a:rPr lang="pt-BR" spc="30" smtClean="0"/>
              <a:t>T</a:t>
            </a:r>
            <a:r>
              <a:rPr lang="pt-BR" smtClean="0"/>
              <a:t> </a:t>
            </a:r>
            <a:r>
              <a:rPr lang="pt-BR" spc="30" smtClean="0"/>
              <a:t>I</a:t>
            </a:r>
            <a:r>
              <a:rPr lang="pt-BR" spc="-5" smtClean="0"/>
              <a:t> </a:t>
            </a:r>
            <a:r>
              <a:rPr lang="pt-BR" spc="30" smtClean="0"/>
              <a:t>E</a:t>
            </a:r>
            <a:r>
              <a:rPr lang="pt-BR" smtClean="0"/>
              <a:t> S</a:t>
            </a:r>
            <a:r>
              <a:rPr lang="pt-BR" spc="30" smtClean="0"/>
              <a:t> </a:t>
            </a:r>
            <a:endParaRPr lang="pt-BR" spc="30" dirty="0"/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8/17/2021</a:t>
            </a:fld>
            <a:endParaRPr lang="en-US"/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34173226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370693" y="1769540"/>
            <a:ext cx="9440034" cy="1828801"/>
          </a:xfrm>
        </p:spPr>
        <p:txBody>
          <a:bodyPr anchor="b">
            <a:normAutofit/>
          </a:bodyPr>
          <a:lstStyle>
            <a:lvl1pPr algn="ctr">
              <a:defRPr sz="5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0693" y="3598339"/>
            <a:ext cx="9440034" cy="1049867"/>
          </a:xfrm>
        </p:spPr>
        <p:txBody>
          <a:bodyPr anchor="t"/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2DB0C44-5B28-495E-A020-6785C9410D38}" type="datetimeFigureOut">
              <a:rPr lang="en-US" smtClean="0"/>
              <a:t>8/17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1856C2-6CA8-4989-BEB2-F510FB5AE03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3530217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2DB0C44-5B28-495E-A020-6785C9410D38}" type="datetimeFigureOut">
              <a:rPr lang="en-US" smtClean="0"/>
              <a:t>8/17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1856C2-6CA8-4989-BEB2-F510FB5AE03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6109395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95401" y="1761067"/>
            <a:ext cx="9590550" cy="1828813"/>
          </a:xfrm>
        </p:spPr>
        <p:txBody>
          <a:bodyPr anchor="b"/>
          <a:lstStyle>
            <a:lvl1pPr algn="ctr">
              <a:defRPr sz="4000" b="0" cap="none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295401" y="3589879"/>
            <a:ext cx="9590550" cy="1507054"/>
          </a:xfrm>
        </p:spPr>
        <p:txBody>
          <a:bodyPr anchor="t"/>
          <a:lstStyle>
            <a:lvl1pPr marL="0" indent="0" algn="ctr">
              <a:buNone/>
              <a:defRPr sz="2000">
                <a:solidFill>
                  <a:schemeClr val="tx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2DB0C44-5B28-495E-A020-6785C9410D38}" type="datetimeFigureOut">
              <a:rPr lang="en-US" smtClean="0"/>
              <a:t>8/17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1856C2-6CA8-4989-BEB2-F510FB5AE03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0848290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13795" y="1732449"/>
            <a:ext cx="5060497" cy="4058750"/>
          </a:xfrm>
        </p:spPr>
        <p:txBody>
          <a:bodyPr anchor="t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02892" y="1732449"/>
            <a:ext cx="5064665" cy="4058751"/>
          </a:xfrm>
        </p:spPr>
        <p:txBody>
          <a:bodyPr anchor="t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2DB0C44-5B28-495E-A020-6785C9410D38}" type="datetimeFigureOut">
              <a:rPr lang="en-US" smtClean="0"/>
              <a:t>8/17/2021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1856C2-6CA8-4989-BEB2-F510FB5AE03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3340273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Picture 19" descr="Slate-V2-HD-compPhotoInset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3795" y="1734506"/>
            <a:ext cx="5089072" cy="4148769"/>
          </a:xfrm>
          <a:prstGeom prst="rect">
            <a:avLst/>
          </a:prstGeom>
        </p:spPr>
      </p:pic>
      <p:pic>
        <p:nvPicPr>
          <p:cNvPr id="21" name="Picture 20" descr="Slate-V2-HD-compPhotoInset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78485" y="1734506"/>
            <a:ext cx="5089072" cy="4148769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05872" y="1835254"/>
            <a:ext cx="4876344" cy="544884"/>
          </a:xfrm>
        </p:spPr>
        <p:txBody>
          <a:bodyPr anchor="b">
            <a:noAutofit/>
          </a:bodyPr>
          <a:lstStyle>
            <a:lvl1pPr marL="0" indent="0" algn="ctr"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005872" y="2380137"/>
            <a:ext cx="4876344" cy="3411063"/>
          </a:xfrm>
        </p:spPr>
        <p:txBody>
          <a:bodyPr anchor="t"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294967" y="1835254"/>
            <a:ext cx="4895330" cy="544883"/>
          </a:xfrm>
        </p:spPr>
        <p:txBody>
          <a:bodyPr anchor="b">
            <a:noAutofit/>
          </a:bodyPr>
          <a:lstStyle>
            <a:lvl1pPr marL="0" indent="0" algn="ctr"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294967" y="2380137"/>
            <a:ext cx="4895330" cy="3411063"/>
          </a:xfrm>
        </p:spPr>
        <p:txBody>
          <a:bodyPr anchor="t"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2DB0C44-5B28-495E-A020-6785C9410D38}" type="datetimeFigureOut">
              <a:rPr lang="en-US" smtClean="0"/>
              <a:t>8/17/2021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1856C2-6CA8-4989-BEB2-F510FB5AE03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1205863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2DB0C44-5B28-495E-A020-6785C9410D38}" type="datetimeFigureOut">
              <a:rPr lang="en-US" smtClean="0"/>
              <a:t>8/17/2021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1856C2-6CA8-4989-BEB2-F510FB5AE03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285166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2DB0C44-5B28-495E-A020-6785C9410D38}" type="datetimeFigureOut">
              <a:rPr lang="en-US" smtClean="0"/>
              <a:t>8/17/2021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1856C2-6CA8-4989-BEB2-F510FB5AE03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3745508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6C341C4-3268-4241-9C56-054F2F7015E6}" type="datetimeFigureOut">
              <a:rPr lang="en-US" smtClean="0"/>
              <a:t>8/17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2FE41E-F334-4083-80DF-E3288B8CA3F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2939640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3795" y="609600"/>
            <a:ext cx="3706889" cy="1821918"/>
          </a:xfrm>
        </p:spPr>
        <p:txBody>
          <a:bodyPr anchor="b">
            <a:normAutofit/>
          </a:bodyPr>
          <a:lstStyle>
            <a:lvl1pPr algn="ctr">
              <a:defRPr sz="2400" b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855633" y="609600"/>
            <a:ext cx="6411924" cy="5181600"/>
          </a:xfrm>
        </p:spPr>
        <p:txBody>
          <a:bodyPr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913795" y="2431518"/>
            <a:ext cx="3706889" cy="3359681"/>
          </a:xfrm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2DB0C44-5B28-495E-A020-6785C9410D38}" type="datetimeFigureOut">
              <a:rPr lang="en-US" smtClean="0"/>
              <a:t>8/17/2021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1856C2-6CA8-4989-BEB2-F510FB5AE03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2665354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Picture 21" descr="Slate-V2-HD-vertPhotoInset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93665" y="609600"/>
            <a:ext cx="3584166" cy="5204832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3795" y="609923"/>
            <a:ext cx="5934949" cy="1829338"/>
          </a:xfrm>
        </p:spPr>
        <p:txBody>
          <a:bodyPr anchor="b">
            <a:noAutofit/>
          </a:bodyPr>
          <a:lstStyle>
            <a:lvl1pPr algn="ctr">
              <a:defRPr sz="3200" b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7442551" y="763702"/>
            <a:ext cx="3275751" cy="4912822"/>
          </a:xfrm>
          <a:effectLst>
            <a:outerShdw blurRad="38100" dist="25400" dir="4440000">
              <a:srgbClr val="000000">
                <a:alpha val="36000"/>
              </a:srgbClr>
            </a:out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913795" y="2439261"/>
            <a:ext cx="5934949" cy="3376134"/>
          </a:xfrm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2DB0C44-5B28-495E-A020-6785C9410D38}" type="datetimeFigureOut">
              <a:rPr lang="en-US" smtClean="0"/>
              <a:t>8/17/2021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1856C2-6CA8-4989-BEB2-F510FB5AE03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9056755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anoramic 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 descr="Slate-V2-HD-panoPhotoInset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3883" y="547807"/>
            <a:ext cx="10141799" cy="3816806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3806" y="4565255"/>
            <a:ext cx="10355326" cy="543472"/>
          </a:xfrm>
        </p:spPr>
        <p:txBody>
          <a:bodyPr anchor="b">
            <a:normAutofit/>
          </a:bodyPr>
          <a:lstStyle>
            <a:lvl1pPr algn="ctr">
              <a:defRPr sz="28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1169349" y="695009"/>
            <a:ext cx="9845346" cy="3525671"/>
          </a:xfrm>
          <a:effectLst>
            <a:outerShdw blurRad="38100" dist="25400" dir="4440000">
              <a:srgbClr val="000000">
                <a:alpha val="36000"/>
              </a:srgbClr>
            </a:out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2000"/>
            </a:lvl1pPr>
            <a:lvl2pPr marL="457200" indent="0">
              <a:buNone/>
              <a:defRPr sz="2000"/>
            </a:lvl2pPr>
            <a:lvl3pPr marL="914400" indent="0">
              <a:buNone/>
              <a:defRPr sz="20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913795" y="5108728"/>
            <a:ext cx="10353762" cy="682472"/>
          </a:xfrm>
        </p:spPr>
        <p:txBody>
          <a:bodyPr anchor="t"/>
          <a:lstStyle>
            <a:lvl1pPr marL="0" indent="0" algn="ctr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2DB0C44-5B28-495E-A020-6785C9410D38}" type="datetimeFigureOut">
              <a:rPr lang="en-US" smtClean="0"/>
              <a:t>8/17/2021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1856C2-6CA8-4989-BEB2-F510FB5AE03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5836643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3795" y="608437"/>
            <a:ext cx="10353762" cy="3534344"/>
          </a:xfrm>
        </p:spPr>
        <p:txBody>
          <a:bodyPr anchor="ctr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913794" y="4295180"/>
            <a:ext cx="10353763" cy="1501826"/>
          </a:xfrm>
        </p:spPr>
        <p:txBody>
          <a:bodyPr anchor="ctr"/>
          <a:lstStyle>
            <a:lvl1pPr marL="0" indent="0" algn="ctr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2DB0C44-5B28-495E-A020-6785C9410D38}" type="datetimeFigureOut">
              <a:rPr lang="en-US" smtClean="0"/>
              <a:t>8/17/2021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1856C2-6CA8-4989-BEB2-F510FB5AE03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59327678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46212" y="609600"/>
            <a:ext cx="9302752" cy="2992904"/>
          </a:xfrm>
        </p:spPr>
        <p:txBody>
          <a:bodyPr anchor="ctr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Text Placeholder 3"/>
          <p:cNvSpPr>
            <a:spLocks noGrp="1"/>
          </p:cNvSpPr>
          <p:nvPr>
            <p:ph type="body" sz="half" idx="13"/>
          </p:nvPr>
        </p:nvSpPr>
        <p:spPr>
          <a:xfrm>
            <a:off x="1720644" y="3610032"/>
            <a:ext cx="8752299" cy="532749"/>
          </a:xfrm>
        </p:spPr>
        <p:txBody>
          <a:bodyPr anchor="t">
            <a:normAutofit/>
          </a:bodyPr>
          <a:lstStyle>
            <a:lvl1pPr marL="0" indent="0" algn="r">
              <a:buNone/>
              <a:defRPr sz="14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913794" y="4304353"/>
            <a:ext cx="10353763" cy="1489496"/>
          </a:xfrm>
        </p:spPr>
        <p:txBody>
          <a:bodyPr anchor="ctr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2DB0C44-5B28-495E-A020-6785C9410D38}" type="datetimeFigureOut">
              <a:rPr lang="en-US" smtClean="0"/>
              <a:t>8/17/2021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1856C2-6CA8-4989-BEB2-F510FB5AE03E}" type="slidenum">
              <a:rPr lang="en-US" smtClean="0"/>
              <a:t>‹#›</a:t>
            </a:fld>
            <a:endParaRPr lang="en-US"/>
          </a:p>
        </p:txBody>
      </p:sp>
      <p:sp>
        <p:nvSpPr>
          <p:cNvPr id="11" name="TextBox 10"/>
          <p:cNvSpPr txBox="1"/>
          <p:nvPr/>
        </p:nvSpPr>
        <p:spPr>
          <a:xfrm>
            <a:off x="990600" y="884796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spcBef>
                <a:spcPct val="0"/>
              </a:spcBef>
              <a:buNone/>
              <a:defRPr sz="3200" b="0" cap="all">
                <a:ln w="3175" cmpd="sng">
                  <a:noFill/>
                </a:ln>
                <a:effectLst>
                  <a:glow rad="38100">
                    <a:schemeClr val="bg1">
                      <a:lumMod val="65000"/>
                      <a:lumOff val="35000"/>
                      <a:alpha val="40000"/>
                    </a:schemeClr>
                  </a:glow>
                  <a:outerShdw blurRad="28575" dist="38100" dir="14040000" algn="tl" rotWithShape="0">
                    <a:srgbClr val="000000">
                      <a:alpha val="25000"/>
                    </a:srgbClr>
                  </a:outerShdw>
                </a:effectLst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  <a:lvl6pPr>
              <a:defRPr>
                <a:solidFill>
                  <a:schemeClr val="tx2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>
              <a:defRPr>
                <a:solidFill>
                  <a:schemeClr val="tx2"/>
                </a:solidFill>
              </a:defRPr>
            </a:lvl8pPr>
            <a:lvl9pPr>
              <a:defRPr>
                <a:solidFill>
                  <a:schemeClr val="tx2"/>
                </a:solidFill>
              </a:defRPr>
            </a:lvl9pPr>
          </a:lstStyle>
          <a:p>
            <a:pPr lvl="0"/>
            <a:r>
              <a:rPr lang="en-US" sz="8000" dirty="0">
                <a:solidFill>
                  <a:schemeClr val="tx1"/>
                </a:solidFill>
                <a:effectLst/>
              </a:rPr>
              <a:t>“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10504716" y="2928258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spcBef>
                <a:spcPct val="0"/>
              </a:spcBef>
              <a:buNone/>
              <a:defRPr sz="3200" b="0" cap="all">
                <a:ln w="3175" cmpd="sng">
                  <a:noFill/>
                </a:ln>
                <a:effectLst>
                  <a:glow rad="38100">
                    <a:schemeClr val="bg1">
                      <a:lumMod val="65000"/>
                      <a:lumOff val="35000"/>
                      <a:alpha val="40000"/>
                    </a:schemeClr>
                  </a:glow>
                  <a:outerShdw blurRad="28575" dist="38100" dir="14040000" algn="tl" rotWithShape="0">
                    <a:srgbClr val="000000">
                      <a:alpha val="25000"/>
                    </a:srgbClr>
                  </a:outerShdw>
                </a:effectLst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  <a:lvl6pPr>
              <a:defRPr>
                <a:solidFill>
                  <a:schemeClr val="tx2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>
              <a:defRPr>
                <a:solidFill>
                  <a:schemeClr val="tx2"/>
                </a:solidFill>
              </a:defRPr>
            </a:lvl8pPr>
            <a:lvl9pPr>
              <a:defRPr>
                <a:solidFill>
                  <a:schemeClr val="tx2"/>
                </a:solidFill>
              </a:defRPr>
            </a:lvl9pPr>
          </a:lstStyle>
          <a:p>
            <a:pPr lvl="0" algn="r"/>
            <a:r>
              <a:rPr lang="en-US" sz="8000" dirty="0">
                <a:solidFill>
                  <a:schemeClr val="tx1"/>
                </a:solidFill>
                <a:effectLst/>
              </a:rPr>
              <a:t>”</a:t>
            </a:r>
          </a:p>
        </p:txBody>
      </p:sp>
    </p:spTree>
    <p:extLst>
      <p:ext uri="{BB962C8B-B14F-4D97-AF65-F5344CB8AC3E}">
        <p14:creationId xmlns:p14="http://schemas.microsoft.com/office/powerpoint/2010/main" val="844612483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ame C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3794" y="2126942"/>
            <a:ext cx="10353763" cy="2511835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913784" y="4650556"/>
            <a:ext cx="10352199" cy="1140644"/>
          </a:xfrm>
        </p:spPr>
        <p:txBody>
          <a:bodyPr anchor="t"/>
          <a:lstStyle>
            <a:lvl1pPr marL="0" indent="0" algn="ctr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2DB0C44-5B28-495E-A020-6785C9410D38}" type="datetimeFigureOut">
              <a:rPr lang="en-US" smtClean="0"/>
              <a:t>8/17/2021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1856C2-6CA8-4989-BEB2-F510FB5AE03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75220425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913795" y="609600"/>
            <a:ext cx="10353762" cy="97045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2"/>
          <p:cNvSpPr>
            <a:spLocks noGrp="1"/>
          </p:cNvSpPr>
          <p:nvPr>
            <p:ph type="body" idx="1"/>
          </p:nvPr>
        </p:nvSpPr>
        <p:spPr>
          <a:xfrm>
            <a:off x="913795" y="1885950"/>
            <a:ext cx="3300984" cy="576262"/>
          </a:xfrm>
        </p:spPr>
        <p:txBody>
          <a:bodyPr anchor="b">
            <a:noAutofit/>
          </a:bodyPr>
          <a:lstStyle>
            <a:lvl1pPr marL="0" indent="0" algn="ctr">
              <a:buNone/>
              <a:defRPr sz="2400" b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half" idx="15"/>
          </p:nvPr>
        </p:nvSpPr>
        <p:spPr>
          <a:xfrm>
            <a:off x="913795" y="2571750"/>
            <a:ext cx="3300984" cy="3219450"/>
          </a:xfrm>
        </p:spPr>
        <p:txBody>
          <a:bodyPr anchor="t">
            <a:normAutofit/>
          </a:bodyPr>
          <a:lstStyle>
            <a:lvl1pPr marL="0" indent="0" algn="ctr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446711" y="1885950"/>
            <a:ext cx="3300984" cy="576262"/>
          </a:xfrm>
        </p:spPr>
        <p:txBody>
          <a:bodyPr anchor="b">
            <a:noAutofit/>
          </a:bodyPr>
          <a:lstStyle>
            <a:lvl1pPr marL="0" indent="0" algn="ctr">
              <a:buNone/>
              <a:defRPr sz="2400" b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0" name="Text Placeholder 3"/>
          <p:cNvSpPr>
            <a:spLocks noGrp="1"/>
          </p:cNvSpPr>
          <p:nvPr>
            <p:ph type="body" sz="half" idx="16"/>
          </p:nvPr>
        </p:nvSpPr>
        <p:spPr>
          <a:xfrm>
            <a:off x="4441435" y="2571750"/>
            <a:ext cx="3300984" cy="3219450"/>
          </a:xfrm>
        </p:spPr>
        <p:txBody>
          <a:bodyPr anchor="t">
            <a:normAutofit/>
          </a:bodyPr>
          <a:lstStyle>
            <a:lvl1pPr marL="0" indent="0" algn="ctr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7966572" y="1885950"/>
            <a:ext cx="3300984" cy="576262"/>
          </a:xfrm>
        </p:spPr>
        <p:txBody>
          <a:bodyPr anchor="b">
            <a:noAutofit/>
          </a:bodyPr>
          <a:lstStyle>
            <a:lvl1pPr marL="0" indent="0" algn="ctr">
              <a:buNone/>
              <a:defRPr sz="2400" b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2" name="Text Placeholder 3"/>
          <p:cNvSpPr>
            <a:spLocks noGrp="1"/>
          </p:cNvSpPr>
          <p:nvPr>
            <p:ph type="body" sz="half" idx="17"/>
          </p:nvPr>
        </p:nvSpPr>
        <p:spPr>
          <a:xfrm>
            <a:off x="7966572" y="2571750"/>
            <a:ext cx="3300984" cy="3219450"/>
          </a:xfrm>
        </p:spPr>
        <p:txBody>
          <a:bodyPr anchor="t">
            <a:normAutofit/>
          </a:bodyPr>
          <a:lstStyle>
            <a:lvl1pPr marL="0" indent="0" algn="ctr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2DB0C44-5B28-495E-A020-6785C9410D38}" type="datetimeFigureOut">
              <a:rPr lang="en-US" smtClean="0"/>
              <a:t>8/17/2021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1856C2-6CA8-4989-BEB2-F510FB5AE03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91725107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Pictur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Slate-V2-HD-3colPhotoInset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7962" y="1818214"/>
            <a:ext cx="3339972" cy="1847851"/>
          </a:xfrm>
          <a:prstGeom prst="rect">
            <a:avLst/>
          </a:prstGeom>
        </p:spPr>
      </p:pic>
      <p:pic>
        <p:nvPicPr>
          <p:cNvPr id="36" name="Picture 35" descr="Slate-V2-HD-3colPhotoInset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03800" y="1818214"/>
            <a:ext cx="3339972" cy="1847851"/>
          </a:xfrm>
          <a:prstGeom prst="rect">
            <a:avLst/>
          </a:prstGeom>
        </p:spPr>
      </p:pic>
      <p:pic>
        <p:nvPicPr>
          <p:cNvPr id="37" name="Picture 36" descr="Slate-V2-HD-3colPhotoInset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36051" y="1818214"/>
            <a:ext cx="3339972" cy="1847851"/>
          </a:xfrm>
          <a:prstGeom prst="rect">
            <a:avLst/>
          </a:prstGeom>
        </p:spPr>
      </p:pic>
      <p:sp>
        <p:nvSpPr>
          <p:cNvPr id="30" name="Title 1"/>
          <p:cNvSpPr>
            <a:spLocks noGrp="1"/>
          </p:cNvSpPr>
          <p:nvPr>
            <p:ph type="title"/>
          </p:nvPr>
        </p:nvSpPr>
        <p:spPr>
          <a:xfrm>
            <a:off x="913794" y="609600"/>
            <a:ext cx="10353763" cy="97045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>
          <a:xfrm>
            <a:off x="913795" y="3904106"/>
            <a:ext cx="3300984" cy="576262"/>
          </a:xfrm>
        </p:spPr>
        <p:txBody>
          <a:bodyPr anchor="b">
            <a:noAutofit/>
          </a:bodyPr>
          <a:lstStyle>
            <a:lvl1pPr marL="0" indent="0" algn="ctr">
              <a:buNone/>
              <a:defRPr sz="2000" b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0" name="Picture Placeholder 2"/>
          <p:cNvSpPr>
            <a:spLocks noGrp="1" noChangeAspect="1"/>
          </p:cNvSpPr>
          <p:nvPr>
            <p:ph type="pic" idx="15"/>
          </p:nvPr>
        </p:nvSpPr>
        <p:spPr>
          <a:xfrm>
            <a:off x="1018102" y="1938918"/>
            <a:ext cx="3092368" cy="1602954"/>
          </a:xfrm>
          <a:prstGeom prst="roundRect">
            <a:avLst>
              <a:gd name="adj" fmla="val 1858"/>
            </a:avLst>
          </a:prstGeom>
          <a:effectLst>
            <a:outerShdw blurRad="38100" dist="25400" dir="4440000">
              <a:srgbClr val="000000">
                <a:alpha val="36000"/>
              </a:srgbClr>
            </a:out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1" name="Text Placeholder 3"/>
          <p:cNvSpPr>
            <a:spLocks noGrp="1"/>
          </p:cNvSpPr>
          <p:nvPr>
            <p:ph type="body" sz="half" idx="18"/>
          </p:nvPr>
        </p:nvSpPr>
        <p:spPr>
          <a:xfrm>
            <a:off x="913795" y="4480368"/>
            <a:ext cx="3300984" cy="1310833"/>
          </a:xfrm>
        </p:spPr>
        <p:txBody>
          <a:bodyPr anchor="t">
            <a:normAutofit/>
          </a:bodyPr>
          <a:lstStyle>
            <a:lvl1pPr marL="0" indent="0" algn="ctr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2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442788" y="3904106"/>
            <a:ext cx="3300984" cy="576262"/>
          </a:xfrm>
        </p:spPr>
        <p:txBody>
          <a:bodyPr anchor="b">
            <a:noAutofit/>
          </a:bodyPr>
          <a:lstStyle>
            <a:lvl1pPr marL="0" indent="0" algn="ctr">
              <a:buNone/>
              <a:defRPr sz="2000" b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3" name="Picture Placeholder 2"/>
          <p:cNvSpPr>
            <a:spLocks noGrp="1" noChangeAspect="1"/>
          </p:cNvSpPr>
          <p:nvPr>
            <p:ph type="pic" idx="21"/>
          </p:nvPr>
        </p:nvSpPr>
        <p:spPr>
          <a:xfrm>
            <a:off x="4545743" y="1939094"/>
            <a:ext cx="3092368" cy="1608164"/>
          </a:xfrm>
          <a:prstGeom prst="roundRect">
            <a:avLst>
              <a:gd name="adj" fmla="val 1858"/>
            </a:avLst>
          </a:prstGeom>
          <a:effectLst>
            <a:outerShdw blurRad="38100" dist="25400" dir="4440000">
              <a:srgbClr val="000000">
                <a:alpha val="36000"/>
              </a:srgbClr>
            </a:out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4" name="Text Placeholder 3"/>
          <p:cNvSpPr>
            <a:spLocks noGrp="1"/>
          </p:cNvSpPr>
          <p:nvPr>
            <p:ph type="body" sz="half" idx="19"/>
          </p:nvPr>
        </p:nvSpPr>
        <p:spPr>
          <a:xfrm>
            <a:off x="4441435" y="4480367"/>
            <a:ext cx="3300984" cy="1310833"/>
          </a:xfrm>
        </p:spPr>
        <p:txBody>
          <a:bodyPr anchor="t">
            <a:normAutofit/>
          </a:bodyPr>
          <a:lstStyle>
            <a:lvl1pPr marL="0" indent="0" algn="ctr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7966697" y="3904106"/>
            <a:ext cx="3300984" cy="576262"/>
          </a:xfrm>
        </p:spPr>
        <p:txBody>
          <a:bodyPr anchor="b">
            <a:noAutofit/>
          </a:bodyPr>
          <a:lstStyle>
            <a:lvl1pPr marL="0" indent="0" algn="ctr">
              <a:buNone/>
              <a:defRPr sz="2000" b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6" name="Picture Placeholder 2"/>
          <p:cNvSpPr>
            <a:spLocks noGrp="1" noChangeAspect="1"/>
          </p:cNvSpPr>
          <p:nvPr>
            <p:ph type="pic" idx="22"/>
          </p:nvPr>
        </p:nvSpPr>
        <p:spPr>
          <a:xfrm>
            <a:off x="8075698" y="1934432"/>
            <a:ext cx="3092368" cy="1607294"/>
          </a:xfrm>
          <a:prstGeom prst="roundRect">
            <a:avLst>
              <a:gd name="adj" fmla="val 1858"/>
            </a:avLst>
          </a:prstGeom>
          <a:effectLst>
            <a:outerShdw blurRad="38100" dist="25400" dir="4440000">
              <a:srgbClr val="000000">
                <a:alpha val="36000"/>
              </a:srgbClr>
            </a:out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7" name="Text Placeholder 3"/>
          <p:cNvSpPr>
            <a:spLocks noGrp="1"/>
          </p:cNvSpPr>
          <p:nvPr>
            <p:ph type="body" sz="half" idx="20"/>
          </p:nvPr>
        </p:nvSpPr>
        <p:spPr>
          <a:xfrm>
            <a:off x="7966572" y="4480365"/>
            <a:ext cx="3300984" cy="1310835"/>
          </a:xfrm>
        </p:spPr>
        <p:txBody>
          <a:bodyPr anchor="t">
            <a:normAutofit/>
          </a:bodyPr>
          <a:lstStyle>
            <a:lvl1pPr marL="0" indent="0" algn="ctr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2DB0C44-5B28-495E-A020-6785C9410D38}" type="datetimeFigureOut">
              <a:rPr lang="en-US" smtClean="0"/>
              <a:t>8/17/2021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1856C2-6CA8-4989-BEB2-F510FB5AE03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17180623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 anchor="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2DB0C44-5B28-495E-A020-6785C9410D38}" type="datetimeFigureOut">
              <a:rPr lang="en-US" smtClean="0"/>
              <a:t>8/17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1856C2-6CA8-4989-BEB2-F510FB5AE03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29127083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983068" y="609599"/>
            <a:ext cx="2284487" cy="5181601"/>
          </a:xfrm>
        </p:spPr>
        <p:txBody>
          <a:bodyPr vert="eaVert"/>
          <a:lstStyle>
            <a:lvl1pPr algn="l"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913796" y="609599"/>
            <a:ext cx="7916872" cy="5181601"/>
          </a:xfrm>
        </p:spPr>
        <p:txBody>
          <a:bodyPr vert="eaVert" anchor="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2DB0C44-5B28-495E-A020-6785C9410D38}" type="datetimeFigureOut">
              <a:rPr lang="en-US" smtClean="0"/>
              <a:t>8/17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1856C2-6CA8-4989-BEB2-F510FB5AE03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7130603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6C341C4-3268-4241-9C56-054F2F7015E6}" type="datetimeFigureOut">
              <a:rPr lang="en-US" smtClean="0"/>
              <a:t>8/17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2FE41E-F334-4083-80DF-E3288B8CA3F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25189897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" type="title">
  <p:cSld name="Title slide"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Google Shape;10;p2"/>
          <p:cNvSpPr txBox="1">
            <a:spLocks noGrp="1"/>
          </p:cNvSpPr>
          <p:nvPr>
            <p:ph type="ctrTitle"/>
          </p:nvPr>
        </p:nvSpPr>
        <p:spPr>
          <a:xfrm>
            <a:off x="415611" y="992767"/>
            <a:ext cx="11360800" cy="2736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rm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9pPr>
          </a:lstStyle>
          <a:p>
            <a:endParaRPr/>
          </a:p>
        </p:txBody>
      </p:sp>
      <p:sp>
        <p:nvSpPr>
          <p:cNvPr id="11" name="Google Shape;11;p2"/>
          <p:cNvSpPr txBox="1">
            <a:spLocks noGrp="1"/>
          </p:cNvSpPr>
          <p:nvPr>
            <p:ph type="subTitle" idx="1"/>
          </p:nvPr>
        </p:nvSpPr>
        <p:spPr>
          <a:xfrm>
            <a:off x="415600" y="3778833"/>
            <a:ext cx="11360800" cy="1056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9pPr>
          </a:lstStyle>
          <a:p>
            <a:endParaRPr/>
          </a:p>
        </p:txBody>
      </p:sp>
      <p:sp>
        <p:nvSpPr>
          <p:cNvPr id="12" name="Google Shape;12;p2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 rtl="0">
              <a:buNone/>
              <a:defRPr/>
            </a:lvl1pPr>
            <a:lvl2pPr lvl="1" rtl="0">
              <a:buNone/>
              <a:defRPr/>
            </a:lvl2pPr>
            <a:lvl3pPr lvl="2" rtl="0">
              <a:buNone/>
              <a:defRPr/>
            </a:lvl3pPr>
            <a:lvl4pPr lvl="3" rtl="0">
              <a:buNone/>
              <a:defRPr/>
            </a:lvl4pPr>
            <a:lvl5pPr lvl="4" rtl="0">
              <a:buNone/>
              <a:defRPr/>
            </a:lvl5pPr>
            <a:lvl6pPr lvl="5" rtl="0">
              <a:buNone/>
              <a:defRPr/>
            </a:lvl6pPr>
            <a:lvl7pPr lvl="6" rtl="0">
              <a:buNone/>
              <a:defRPr/>
            </a:lvl7pPr>
            <a:lvl8pPr lvl="7" rtl="0">
              <a:buNone/>
              <a:defRPr/>
            </a:lvl8pPr>
            <a:lvl9pPr lvl="8" rtl="0">
              <a:buNone/>
              <a:defRPr/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3502233984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header" type="secHead">
  <p:cSld name="Section header">
    <p:spTree>
      <p:nvGrpSpPr>
        <p:cNvPr id="1" name="Shape 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Google Shape;14;p3"/>
          <p:cNvSpPr txBox="1">
            <a:spLocks noGrp="1"/>
          </p:cNvSpPr>
          <p:nvPr>
            <p:ph type="title"/>
          </p:nvPr>
        </p:nvSpPr>
        <p:spPr>
          <a:xfrm>
            <a:off x="415600" y="2867800"/>
            <a:ext cx="11360800" cy="11224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9pPr>
          </a:lstStyle>
          <a:p>
            <a:endParaRPr/>
          </a:p>
        </p:txBody>
      </p:sp>
      <p:sp>
        <p:nvSpPr>
          <p:cNvPr id="15" name="Google Shape;15;p3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 rtl="0">
              <a:buNone/>
              <a:defRPr/>
            </a:lvl1pPr>
            <a:lvl2pPr lvl="1" rtl="0">
              <a:buNone/>
              <a:defRPr/>
            </a:lvl2pPr>
            <a:lvl3pPr lvl="2" rtl="0">
              <a:buNone/>
              <a:defRPr/>
            </a:lvl3pPr>
            <a:lvl4pPr lvl="3" rtl="0">
              <a:buNone/>
              <a:defRPr/>
            </a:lvl4pPr>
            <a:lvl5pPr lvl="4" rtl="0">
              <a:buNone/>
              <a:defRPr/>
            </a:lvl5pPr>
            <a:lvl6pPr lvl="5" rtl="0">
              <a:buNone/>
              <a:defRPr/>
            </a:lvl6pPr>
            <a:lvl7pPr lvl="6" rtl="0">
              <a:buNone/>
              <a:defRPr/>
            </a:lvl7pPr>
            <a:lvl8pPr lvl="7" rtl="0">
              <a:buNone/>
              <a:defRPr/>
            </a:lvl8pPr>
            <a:lvl9pPr lvl="8" rtl="0">
              <a:buNone/>
              <a:defRPr/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651240623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ody" type="tx">
  <p:cSld name="Title and body">
    <p:spTree>
      <p:nvGrpSpPr>
        <p:cNvPr id="1" name="Shape 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Google Shape;17;p4"/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18" name="Google Shape;18;p4"/>
          <p:cNvSpPr txBox="1">
            <a:spLocks noGrp="1"/>
          </p:cNvSpPr>
          <p:nvPr>
            <p:ph type="body" idx="1"/>
          </p:nvPr>
        </p:nvSpPr>
        <p:spPr>
          <a:xfrm>
            <a:off x="415600" y="1536633"/>
            <a:ext cx="11360800" cy="45552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marL="609585" lvl="0" indent="-457189" rtl="0"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1219170" lvl="1" indent="-423323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828754" lvl="2" indent="-423323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2438339" lvl="3" indent="-423323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3047924" lvl="4" indent="-423323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3657509" lvl="5" indent="-423323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4267093" lvl="6" indent="-423323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4876678" lvl="7" indent="-423323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5486263" lvl="8" indent="-423323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19" name="Google Shape;19;p4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 rtl="0">
              <a:buNone/>
              <a:defRPr/>
            </a:lvl1pPr>
            <a:lvl2pPr lvl="1" rtl="0">
              <a:buNone/>
              <a:defRPr/>
            </a:lvl2pPr>
            <a:lvl3pPr lvl="2" rtl="0">
              <a:buNone/>
              <a:defRPr/>
            </a:lvl3pPr>
            <a:lvl4pPr lvl="3" rtl="0">
              <a:buNone/>
              <a:defRPr/>
            </a:lvl4pPr>
            <a:lvl5pPr lvl="4" rtl="0">
              <a:buNone/>
              <a:defRPr/>
            </a:lvl5pPr>
            <a:lvl6pPr lvl="5" rtl="0">
              <a:buNone/>
              <a:defRPr/>
            </a:lvl6pPr>
            <a:lvl7pPr lvl="6" rtl="0">
              <a:buNone/>
              <a:defRPr/>
            </a:lvl7pPr>
            <a:lvl8pPr lvl="7" rtl="0">
              <a:buNone/>
              <a:defRPr/>
            </a:lvl8pPr>
            <a:lvl9pPr lvl="8" rtl="0">
              <a:buNone/>
              <a:defRPr/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705278524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wo columns" type="twoColTx">
  <p:cSld name="Title and two columns">
    <p:spTree>
      <p:nvGrpSpPr>
        <p:cNvPr id="1" name="Shape 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Google Shape;21;p5"/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22" name="Google Shape;22;p5"/>
          <p:cNvSpPr txBox="1">
            <a:spLocks noGrp="1"/>
          </p:cNvSpPr>
          <p:nvPr>
            <p:ph type="body" idx="1"/>
          </p:nvPr>
        </p:nvSpPr>
        <p:spPr>
          <a:xfrm>
            <a:off x="415600" y="1536633"/>
            <a:ext cx="5333200" cy="45552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marL="609585" lvl="0" indent="-423323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867"/>
            </a:lvl1pPr>
            <a:lvl2pPr marL="1219170" lvl="1" indent="-406390" rtl="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2pPr>
            <a:lvl3pPr marL="1828754" lvl="2" indent="-406390" rtl="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3pPr>
            <a:lvl4pPr marL="2438339" lvl="3" indent="-406390" rtl="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4pPr>
            <a:lvl5pPr marL="3047924" lvl="4" indent="-406390" rtl="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5pPr>
            <a:lvl6pPr marL="3657509" lvl="5" indent="-406390" rtl="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6pPr>
            <a:lvl7pPr marL="4267093" lvl="6" indent="-406390" rtl="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7pPr>
            <a:lvl8pPr marL="4876678" lvl="7" indent="-406390" rtl="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8pPr>
            <a:lvl9pPr marL="5486263" lvl="8" indent="-406390" rtl="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9pPr>
          </a:lstStyle>
          <a:p>
            <a:endParaRPr/>
          </a:p>
        </p:txBody>
      </p:sp>
      <p:sp>
        <p:nvSpPr>
          <p:cNvPr id="23" name="Google Shape;23;p5"/>
          <p:cNvSpPr txBox="1">
            <a:spLocks noGrp="1"/>
          </p:cNvSpPr>
          <p:nvPr>
            <p:ph type="body" idx="2"/>
          </p:nvPr>
        </p:nvSpPr>
        <p:spPr>
          <a:xfrm>
            <a:off x="6443200" y="1536633"/>
            <a:ext cx="5333200" cy="45552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marL="609585" lvl="0" indent="-423323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867"/>
            </a:lvl1pPr>
            <a:lvl2pPr marL="1219170" lvl="1" indent="-406390" rtl="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2pPr>
            <a:lvl3pPr marL="1828754" lvl="2" indent="-406390" rtl="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3pPr>
            <a:lvl4pPr marL="2438339" lvl="3" indent="-406390" rtl="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4pPr>
            <a:lvl5pPr marL="3047924" lvl="4" indent="-406390" rtl="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5pPr>
            <a:lvl6pPr marL="3657509" lvl="5" indent="-406390" rtl="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6pPr>
            <a:lvl7pPr marL="4267093" lvl="6" indent="-406390" rtl="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7pPr>
            <a:lvl8pPr marL="4876678" lvl="7" indent="-406390" rtl="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8pPr>
            <a:lvl9pPr marL="5486263" lvl="8" indent="-406390" rtl="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9pPr>
          </a:lstStyle>
          <a:p>
            <a:endParaRPr/>
          </a:p>
        </p:txBody>
      </p:sp>
      <p:sp>
        <p:nvSpPr>
          <p:cNvPr id="24" name="Google Shape;24;p5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 rtl="0">
              <a:buNone/>
              <a:defRPr/>
            </a:lvl1pPr>
            <a:lvl2pPr lvl="1" rtl="0">
              <a:buNone/>
              <a:defRPr/>
            </a:lvl2pPr>
            <a:lvl3pPr lvl="2" rtl="0">
              <a:buNone/>
              <a:defRPr/>
            </a:lvl3pPr>
            <a:lvl4pPr lvl="3" rtl="0">
              <a:buNone/>
              <a:defRPr/>
            </a:lvl4pPr>
            <a:lvl5pPr lvl="4" rtl="0">
              <a:buNone/>
              <a:defRPr/>
            </a:lvl5pPr>
            <a:lvl6pPr lvl="5" rtl="0">
              <a:buNone/>
              <a:defRPr/>
            </a:lvl6pPr>
            <a:lvl7pPr lvl="6" rtl="0">
              <a:buNone/>
              <a:defRPr/>
            </a:lvl7pPr>
            <a:lvl8pPr lvl="7" rtl="0">
              <a:buNone/>
              <a:defRPr/>
            </a:lvl8pPr>
            <a:lvl9pPr lvl="8" rtl="0">
              <a:buNone/>
              <a:defRPr/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1081657078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type="titleOnly">
  <p:cSld name="Title only">
    <p:spTree>
      <p:nvGrpSpPr>
        <p:cNvPr id="1" name="Shape 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Google Shape;26;p6"/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27" name="Google Shape;27;p6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 rtl="0">
              <a:buNone/>
              <a:defRPr/>
            </a:lvl1pPr>
            <a:lvl2pPr lvl="1" rtl="0">
              <a:buNone/>
              <a:defRPr/>
            </a:lvl2pPr>
            <a:lvl3pPr lvl="2" rtl="0">
              <a:buNone/>
              <a:defRPr/>
            </a:lvl3pPr>
            <a:lvl4pPr lvl="3" rtl="0">
              <a:buNone/>
              <a:defRPr/>
            </a:lvl4pPr>
            <a:lvl5pPr lvl="4" rtl="0">
              <a:buNone/>
              <a:defRPr/>
            </a:lvl5pPr>
            <a:lvl6pPr lvl="5" rtl="0">
              <a:buNone/>
              <a:defRPr/>
            </a:lvl6pPr>
            <a:lvl7pPr lvl="6" rtl="0">
              <a:buNone/>
              <a:defRPr/>
            </a:lvl7pPr>
            <a:lvl8pPr lvl="7" rtl="0">
              <a:buNone/>
              <a:defRPr/>
            </a:lvl8pPr>
            <a:lvl9pPr lvl="8" rtl="0">
              <a:buNone/>
              <a:defRPr/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4214908092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column text">
  <p:cSld name="One column text">
    <p:spTree>
      <p:nvGrpSpPr>
        <p:cNvPr id="1" name="Shape 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Google Shape;29;p7"/>
          <p:cNvSpPr txBox="1">
            <a:spLocks noGrp="1"/>
          </p:cNvSpPr>
          <p:nvPr>
            <p:ph type="title"/>
          </p:nvPr>
        </p:nvSpPr>
        <p:spPr>
          <a:xfrm>
            <a:off x="415600" y="740800"/>
            <a:ext cx="3744000" cy="10076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1pPr>
            <a:lvl2pPr lvl="1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2pPr>
            <a:lvl3pPr lvl="2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3pPr>
            <a:lvl4pPr lvl="3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4pPr>
            <a:lvl5pPr lvl="4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5pPr>
            <a:lvl6pPr lvl="5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6pPr>
            <a:lvl7pPr lvl="6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7pPr>
            <a:lvl8pPr lvl="7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8pPr>
            <a:lvl9pPr lvl="8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9pPr>
          </a:lstStyle>
          <a:p>
            <a:endParaRPr/>
          </a:p>
        </p:txBody>
      </p:sp>
      <p:sp>
        <p:nvSpPr>
          <p:cNvPr id="30" name="Google Shape;30;p7"/>
          <p:cNvSpPr txBox="1">
            <a:spLocks noGrp="1"/>
          </p:cNvSpPr>
          <p:nvPr>
            <p:ph type="body" idx="1"/>
          </p:nvPr>
        </p:nvSpPr>
        <p:spPr>
          <a:xfrm>
            <a:off x="415600" y="1852800"/>
            <a:ext cx="3744000" cy="42392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marL="609585" lvl="0" indent="-406390" rtl="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1pPr>
            <a:lvl2pPr marL="1219170" lvl="1" indent="-406390" rtl="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2pPr>
            <a:lvl3pPr marL="1828754" lvl="2" indent="-406390" rtl="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3pPr>
            <a:lvl4pPr marL="2438339" lvl="3" indent="-406390" rtl="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4pPr>
            <a:lvl5pPr marL="3047924" lvl="4" indent="-406390" rtl="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5pPr>
            <a:lvl6pPr marL="3657509" lvl="5" indent="-406390" rtl="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6pPr>
            <a:lvl7pPr marL="4267093" lvl="6" indent="-406390" rtl="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7pPr>
            <a:lvl8pPr marL="4876678" lvl="7" indent="-406390" rtl="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8pPr>
            <a:lvl9pPr marL="5486263" lvl="8" indent="-406390" rtl="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9pPr>
          </a:lstStyle>
          <a:p>
            <a:endParaRPr/>
          </a:p>
        </p:txBody>
      </p:sp>
      <p:sp>
        <p:nvSpPr>
          <p:cNvPr id="31" name="Google Shape;31;p7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 rtl="0">
              <a:buNone/>
              <a:defRPr/>
            </a:lvl1pPr>
            <a:lvl2pPr lvl="1" rtl="0">
              <a:buNone/>
              <a:defRPr/>
            </a:lvl2pPr>
            <a:lvl3pPr lvl="2" rtl="0">
              <a:buNone/>
              <a:defRPr/>
            </a:lvl3pPr>
            <a:lvl4pPr lvl="3" rtl="0">
              <a:buNone/>
              <a:defRPr/>
            </a:lvl4pPr>
            <a:lvl5pPr lvl="4" rtl="0">
              <a:buNone/>
              <a:defRPr/>
            </a:lvl5pPr>
            <a:lvl6pPr lvl="5" rtl="0">
              <a:buNone/>
              <a:defRPr/>
            </a:lvl6pPr>
            <a:lvl7pPr lvl="6" rtl="0">
              <a:buNone/>
              <a:defRPr/>
            </a:lvl7pPr>
            <a:lvl8pPr lvl="7" rtl="0">
              <a:buNone/>
              <a:defRPr/>
            </a:lvl8pPr>
            <a:lvl9pPr lvl="8" rtl="0">
              <a:buNone/>
              <a:defRPr/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3028660469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Main point">
  <p:cSld name="Main point">
    <p:spTree>
      <p:nvGrpSpPr>
        <p:cNvPr id="1" name="Shape 3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Google Shape;33;p8"/>
          <p:cNvSpPr txBox="1">
            <a:spLocks noGrp="1"/>
          </p:cNvSpPr>
          <p:nvPr>
            <p:ph type="title"/>
          </p:nvPr>
        </p:nvSpPr>
        <p:spPr>
          <a:xfrm>
            <a:off x="653667" y="600200"/>
            <a:ext cx="8490400" cy="54544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1pPr>
            <a:lvl2pPr lvl="1" rtl="0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2pPr>
            <a:lvl3pPr lvl="2" rtl="0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3pPr>
            <a:lvl4pPr lvl="3" rtl="0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4pPr>
            <a:lvl5pPr lvl="4" rtl="0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5pPr>
            <a:lvl6pPr lvl="5" rtl="0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6pPr>
            <a:lvl7pPr lvl="6" rtl="0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7pPr>
            <a:lvl8pPr lvl="7" rtl="0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8pPr>
            <a:lvl9pPr lvl="8" rtl="0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9pPr>
          </a:lstStyle>
          <a:p>
            <a:endParaRPr/>
          </a:p>
        </p:txBody>
      </p:sp>
      <p:sp>
        <p:nvSpPr>
          <p:cNvPr id="34" name="Google Shape;34;p8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 rtl="0">
              <a:buNone/>
              <a:defRPr/>
            </a:lvl1pPr>
            <a:lvl2pPr lvl="1" rtl="0">
              <a:buNone/>
              <a:defRPr/>
            </a:lvl2pPr>
            <a:lvl3pPr lvl="2" rtl="0">
              <a:buNone/>
              <a:defRPr/>
            </a:lvl3pPr>
            <a:lvl4pPr lvl="3" rtl="0">
              <a:buNone/>
              <a:defRPr/>
            </a:lvl4pPr>
            <a:lvl5pPr lvl="4" rtl="0">
              <a:buNone/>
              <a:defRPr/>
            </a:lvl5pPr>
            <a:lvl6pPr lvl="5" rtl="0">
              <a:buNone/>
              <a:defRPr/>
            </a:lvl6pPr>
            <a:lvl7pPr lvl="6" rtl="0">
              <a:buNone/>
              <a:defRPr/>
            </a:lvl7pPr>
            <a:lvl8pPr lvl="7" rtl="0">
              <a:buNone/>
              <a:defRPr/>
            </a:lvl8pPr>
            <a:lvl9pPr lvl="8" rtl="0">
              <a:buNone/>
              <a:defRPr/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1514254200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title and description">
  <p:cSld name="Section title and description">
    <p:spTree>
      <p:nvGrpSpPr>
        <p:cNvPr id="1" name="Shape 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Google Shape;36;p9"/>
          <p:cNvSpPr/>
          <p:nvPr/>
        </p:nvSpPr>
        <p:spPr>
          <a:xfrm>
            <a:off x="6096000" y="-167"/>
            <a:ext cx="6096000" cy="68580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37" name="Google Shape;37;p9"/>
          <p:cNvSpPr txBox="1">
            <a:spLocks noGrp="1"/>
          </p:cNvSpPr>
          <p:nvPr>
            <p:ph type="title"/>
          </p:nvPr>
        </p:nvSpPr>
        <p:spPr>
          <a:xfrm>
            <a:off x="354000" y="1644233"/>
            <a:ext cx="5393600" cy="19764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rm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4200"/>
              <a:buNone/>
              <a:defRPr sz="5600"/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4200"/>
              <a:buNone/>
              <a:defRPr sz="5600"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4200"/>
              <a:buNone/>
              <a:defRPr sz="5600"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4200"/>
              <a:buNone/>
              <a:defRPr sz="5600"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4200"/>
              <a:buNone/>
              <a:defRPr sz="5600"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4200"/>
              <a:buNone/>
              <a:defRPr sz="5600"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4200"/>
              <a:buNone/>
              <a:defRPr sz="5600"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4200"/>
              <a:buNone/>
              <a:defRPr sz="5600"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4200"/>
              <a:buNone/>
              <a:defRPr sz="5600"/>
            </a:lvl9pPr>
          </a:lstStyle>
          <a:p>
            <a:endParaRPr/>
          </a:p>
        </p:txBody>
      </p:sp>
      <p:sp>
        <p:nvSpPr>
          <p:cNvPr id="38" name="Google Shape;38;p9"/>
          <p:cNvSpPr txBox="1">
            <a:spLocks noGrp="1"/>
          </p:cNvSpPr>
          <p:nvPr>
            <p:ph type="subTitle" idx="1"/>
          </p:nvPr>
        </p:nvSpPr>
        <p:spPr>
          <a:xfrm>
            <a:off x="354000" y="3737433"/>
            <a:ext cx="5393600" cy="1646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9pPr>
          </a:lstStyle>
          <a:p>
            <a:endParaRPr/>
          </a:p>
        </p:txBody>
      </p:sp>
      <p:sp>
        <p:nvSpPr>
          <p:cNvPr id="39" name="Google Shape;39;p9"/>
          <p:cNvSpPr txBox="1">
            <a:spLocks noGrp="1"/>
          </p:cNvSpPr>
          <p:nvPr>
            <p:ph type="body" idx="2"/>
          </p:nvPr>
        </p:nvSpPr>
        <p:spPr>
          <a:xfrm>
            <a:off x="6586000" y="965433"/>
            <a:ext cx="5116000" cy="4926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marL="609585" lvl="0" indent="-457189" rtl="0"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1219170" lvl="1" indent="-423323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828754" lvl="2" indent="-423323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2438339" lvl="3" indent="-423323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3047924" lvl="4" indent="-423323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3657509" lvl="5" indent="-423323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4267093" lvl="6" indent="-423323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4876678" lvl="7" indent="-423323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5486263" lvl="8" indent="-423323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40" name="Google Shape;40;p9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 rtl="0">
              <a:buNone/>
              <a:defRPr/>
            </a:lvl1pPr>
            <a:lvl2pPr lvl="1" rtl="0">
              <a:buNone/>
              <a:defRPr/>
            </a:lvl2pPr>
            <a:lvl3pPr lvl="2" rtl="0">
              <a:buNone/>
              <a:defRPr/>
            </a:lvl3pPr>
            <a:lvl4pPr lvl="3" rtl="0">
              <a:buNone/>
              <a:defRPr/>
            </a:lvl4pPr>
            <a:lvl5pPr lvl="4" rtl="0">
              <a:buNone/>
              <a:defRPr/>
            </a:lvl5pPr>
            <a:lvl6pPr lvl="5" rtl="0">
              <a:buNone/>
              <a:defRPr/>
            </a:lvl6pPr>
            <a:lvl7pPr lvl="6" rtl="0">
              <a:buNone/>
              <a:defRPr/>
            </a:lvl7pPr>
            <a:lvl8pPr lvl="7" rtl="0">
              <a:buNone/>
              <a:defRPr/>
            </a:lvl8pPr>
            <a:lvl9pPr lvl="8" rtl="0">
              <a:buNone/>
              <a:defRPr/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2790299612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aption">
  <p:cSld name="Caption">
    <p:spTree>
      <p:nvGrpSpPr>
        <p:cNvPr id="1" name="Shape 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Google Shape;42;p10"/>
          <p:cNvSpPr txBox="1">
            <a:spLocks noGrp="1"/>
          </p:cNvSpPr>
          <p:nvPr>
            <p:ph type="body" idx="1"/>
          </p:nvPr>
        </p:nvSpPr>
        <p:spPr>
          <a:xfrm>
            <a:off x="415600" y="5640767"/>
            <a:ext cx="7998400" cy="806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marL="609585" lvl="0" indent="-30479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1pPr>
          </a:lstStyle>
          <a:p>
            <a:endParaRPr/>
          </a:p>
        </p:txBody>
      </p:sp>
      <p:sp>
        <p:nvSpPr>
          <p:cNvPr id="43" name="Google Shape;43;p10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 rtl="0">
              <a:buNone/>
              <a:defRPr/>
            </a:lvl1pPr>
            <a:lvl2pPr lvl="1" rtl="0">
              <a:buNone/>
              <a:defRPr/>
            </a:lvl2pPr>
            <a:lvl3pPr lvl="2" rtl="0">
              <a:buNone/>
              <a:defRPr/>
            </a:lvl3pPr>
            <a:lvl4pPr lvl="3" rtl="0">
              <a:buNone/>
              <a:defRPr/>
            </a:lvl4pPr>
            <a:lvl5pPr lvl="4" rtl="0">
              <a:buNone/>
              <a:defRPr/>
            </a:lvl5pPr>
            <a:lvl6pPr lvl="5" rtl="0">
              <a:buNone/>
              <a:defRPr/>
            </a:lvl6pPr>
            <a:lvl7pPr lvl="6" rtl="0">
              <a:buNone/>
              <a:defRPr/>
            </a:lvl7pPr>
            <a:lvl8pPr lvl="7" rtl="0">
              <a:buNone/>
              <a:defRPr/>
            </a:lvl8pPr>
            <a:lvl9pPr lvl="8" rtl="0">
              <a:buNone/>
              <a:defRPr/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2353584511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ig number">
  <p:cSld name="Big number">
    <p:spTree>
      <p:nvGrpSpPr>
        <p:cNvPr id="1" name="Shape 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Google Shape;45;p11"/>
          <p:cNvSpPr txBox="1">
            <a:spLocks noGrp="1"/>
          </p:cNvSpPr>
          <p:nvPr>
            <p:ph type="title" hasCustomPrompt="1"/>
          </p:nvPr>
        </p:nvSpPr>
        <p:spPr>
          <a:xfrm>
            <a:off x="415600" y="1474833"/>
            <a:ext cx="11360800" cy="26180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rm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12000"/>
              <a:buNone/>
              <a:defRPr sz="16000"/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12000"/>
              <a:buNone/>
              <a:defRPr sz="16000"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12000"/>
              <a:buNone/>
              <a:defRPr sz="16000"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12000"/>
              <a:buNone/>
              <a:defRPr sz="16000"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12000"/>
              <a:buNone/>
              <a:defRPr sz="16000"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12000"/>
              <a:buNone/>
              <a:defRPr sz="16000"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12000"/>
              <a:buNone/>
              <a:defRPr sz="16000"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12000"/>
              <a:buNone/>
              <a:defRPr sz="16000"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12000"/>
              <a:buNone/>
              <a:defRPr sz="16000"/>
            </a:lvl9pPr>
          </a:lstStyle>
          <a:p>
            <a:r>
              <a:t>xx%</a:t>
            </a:r>
          </a:p>
        </p:txBody>
      </p:sp>
      <p:sp>
        <p:nvSpPr>
          <p:cNvPr id="46" name="Google Shape;46;p11"/>
          <p:cNvSpPr txBox="1">
            <a:spLocks noGrp="1"/>
          </p:cNvSpPr>
          <p:nvPr>
            <p:ph type="body" idx="1"/>
          </p:nvPr>
        </p:nvSpPr>
        <p:spPr>
          <a:xfrm>
            <a:off x="415600" y="4202967"/>
            <a:ext cx="11360800" cy="1734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marL="609585" lvl="0" indent="-457189" algn="ctr" rtl="0"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1219170" lvl="1" indent="-423323" algn="ctr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828754" lvl="2" indent="-423323" algn="ctr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2438339" lvl="3" indent="-423323" algn="ctr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3047924" lvl="4" indent="-423323" algn="ctr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3657509" lvl="5" indent="-423323" algn="ctr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4267093" lvl="6" indent="-423323" algn="ctr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4876678" lvl="7" indent="-423323" algn="ctr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5486263" lvl="8" indent="-423323" algn="ctr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47" name="Google Shape;47;p11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 rtl="0">
              <a:buNone/>
              <a:defRPr/>
            </a:lvl1pPr>
            <a:lvl2pPr lvl="1" rtl="0">
              <a:buNone/>
              <a:defRPr/>
            </a:lvl2pPr>
            <a:lvl3pPr lvl="2" rtl="0">
              <a:buNone/>
              <a:defRPr/>
            </a:lvl3pPr>
            <a:lvl4pPr lvl="3" rtl="0">
              <a:buNone/>
              <a:defRPr/>
            </a:lvl4pPr>
            <a:lvl5pPr lvl="4" rtl="0">
              <a:buNone/>
              <a:defRPr/>
            </a:lvl5pPr>
            <a:lvl6pPr lvl="5" rtl="0">
              <a:buNone/>
              <a:defRPr/>
            </a:lvl6pPr>
            <a:lvl7pPr lvl="6" rtl="0">
              <a:buNone/>
              <a:defRPr/>
            </a:lvl7pPr>
            <a:lvl8pPr lvl="7" rtl="0">
              <a:buNone/>
              <a:defRPr/>
            </a:lvl8pPr>
            <a:lvl9pPr lvl="8" rtl="0">
              <a:buNone/>
              <a:defRPr/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344051514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6C341C4-3268-4241-9C56-054F2F7015E6}" type="datetimeFigureOut">
              <a:rPr lang="en-US" smtClean="0"/>
              <a:t>8/17/2021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2FE41E-F334-4083-80DF-E3288B8CA3F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7979915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4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" name="Google Shape;49;p12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 rtl="0">
              <a:buNone/>
              <a:defRPr/>
            </a:lvl1pPr>
            <a:lvl2pPr lvl="1" rtl="0">
              <a:buNone/>
              <a:defRPr/>
            </a:lvl2pPr>
            <a:lvl3pPr lvl="2" rtl="0">
              <a:buNone/>
              <a:defRPr/>
            </a:lvl3pPr>
            <a:lvl4pPr lvl="3" rtl="0">
              <a:buNone/>
              <a:defRPr/>
            </a:lvl4pPr>
            <a:lvl5pPr lvl="4" rtl="0">
              <a:buNone/>
              <a:defRPr/>
            </a:lvl5pPr>
            <a:lvl6pPr lvl="5" rtl="0">
              <a:buNone/>
              <a:defRPr/>
            </a:lvl6pPr>
            <a:lvl7pPr lvl="6" rtl="0">
              <a:buNone/>
              <a:defRPr/>
            </a:lvl7pPr>
            <a:lvl8pPr lvl="7" rtl="0">
              <a:buNone/>
              <a:defRPr/>
            </a:lvl8pPr>
            <a:lvl9pPr lvl="8" rtl="0">
              <a:buNone/>
              <a:defRPr/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234649982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6C341C4-3268-4241-9C56-054F2F7015E6}" type="datetimeFigureOut">
              <a:rPr lang="en-US" smtClean="0"/>
              <a:t>8/17/2021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2FE41E-F334-4083-80DF-E3288B8CA3F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1338025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6C341C4-3268-4241-9C56-054F2F7015E6}" type="datetimeFigureOut">
              <a:rPr lang="en-US" smtClean="0"/>
              <a:t>8/17/2021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2FE41E-F334-4083-80DF-E3288B8CA3F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6711513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6C341C4-3268-4241-9C56-054F2F7015E6}" type="datetimeFigureOut">
              <a:rPr lang="en-US" smtClean="0"/>
              <a:t>8/17/2021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2FE41E-F334-4083-80DF-E3288B8CA3F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1833201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6C341C4-3268-4241-9C56-054F2F7015E6}" type="datetimeFigureOut">
              <a:rPr lang="en-US" smtClean="0"/>
              <a:t>8/17/2021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2FE41E-F334-4083-80DF-E3288B8CA3F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6026421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6C341C4-3268-4241-9C56-054F2F7015E6}" type="datetimeFigureOut">
              <a:rPr lang="en-US" smtClean="0"/>
              <a:t>8/17/2021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2FE41E-F334-4083-80DF-E3288B8CA3F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2832345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slideLayout" Target="../slideLayouts/slideLayout25.xml"/><Relationship Id="rId18" Type="http://schemas.openxmlformats.org/officeDocument/2006/relationships/theme" Target="../theme/theme2.xml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slideLayout" Target="../slideLayouts/slideLayout24.xml"/><Relationship Id="rId17" Type="http://schemas.openxmlformats.org/officeDocument/2006/relationships/slideLayout" Target="../slideLayouts/slideLayout29.xml"/><Relationship Id="rId2" Type="http://schemas.openxmlformats.org/officeDocument/2006/relationships/slideLayout" Target="../slideLayouts/slideLayout14.xml"/><Relationship Id="rId16" Type="http://schemas.openxmlformats.org/officeDocument/2006/relationships/slideLayout" Target="../slideLayouts/slideLayout28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5" Type="http://schemas.openxmlformats.org/officeDocument/2006/relationships/slideLayout" Target="../slideLayouts/slideLayout17.xml"/><Relationship Id="rId15" Type="http://schemas.openxmlformats.org/officeDocument/2006/relationships/slideLayout" Target="../slideLayouts/slideLayout27.xml"/><Relationship Id="rId10" Type="http://schemas.openxmlformats.org/officeDocument/2006/relationships/slideLayout" Target="../slideLayouts/slideLayout22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Relationship Id="rId14" Type="http://schemas.openxmlformats.org/officeDocument/2006/relationships/slideLayout" Target="../slideLayouts/slideLayout26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7.xml"/><Relationship Id="rId3" Type="http://schemas.openxmlformats.org/officeDocument/2006/relationships/slideLayout" Target="../slideLayouts/slideLayout32.xml"/><Relationship Id="rId7" Type="http://schemas.openxmlformats.org/officeDocument/2006/relationships/slideLayout" Target="../slideLayouts/slideLayout36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31.xml"/><Relationship Id="rId1" Type="http://schemas.openxmlformats.org/officeDocument/2006/relationships/slideLayout" Target="../slideLayouts/slideLayout30.xml"/><Relationship Id="rId6" Type="http://schemas.openxmlformats.org/officeDocument/2006/relationships/slideLayout" Target="../slideLayouts/slideLayout35.xml"/><Relationship Id="rId11" Type="http://schemas.openxmlformats.org/officeDocument/2006/relationships/slideLayout" Target="../slideLayouts/slideLayout40.xml"/><Relationship Id="rId5" Type="http://schemas.openxmlformats.org/officeDocument/2006/relationships/slideLayout" Target="../slideLayouts/slideLayout34.xml"/><Relationship Id="rId10" Type="http://schemas.openxmlformats.org/officeDocument/2006/relationships/slideLayout" Target="../slideLayouts/slideLayout39.xml"/><Relationship Id="rId4" Type="http://schemas.openxmlformats.org/officeDocument/2006/relationships/slideLayout" Target="../slideLayouts/slideLayout33.xml"/><Relationship Id="rId9" Type="http://schemas.openxmlformats.org/officeDocument/2006/relationships/slideLayout" Target="../slideLayouts/slideLayout3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6C341C4-3268-4241-9C56-054F2F7015E6}" type="datetimeFigureOut">
              <a:rPr lang="en-US" smtClean="0"/>
              <a:t>8/17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C2FE41E-F334-4083-80DF-E3288B8CA3F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573205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3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913795" y="609600"/>
            <a:ext cx="10353762" cy="970450"/>
          </a:xfrm>
          <a:prstGeom prst="rect">
            <a:avLst/>
          </a:prstGeom>
          <a:effectLst>
            <a:outerShdw blurRad="25400" dir="17880000">
              <a:srgbClr val="000000">
                <a:alpha val="46000"/>
              </a:srgbClr>
            </a:outerShdw>
          </a:effectLst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13795" y="1732449"/>
            <a:ext cx="10353762" cy="4058751"/>
          </a:xfrm>
          <a:prstGeom prst="rect">
            <a:avLst/>
          </a:prstGeom>
          <a:effectLst>
            <a:outerShdw blurRad="25400" dir="17880000">
              <a:srgbClr val="000000">
                <a:alpha val="46000"/>
              </a:srgbClr>
            </a:outerShdw>
          </a:effectLst>
        </p:spPr>
        <p:txBody>
          <a:bodyPr vert="horz" lIns="91440" tIns="45720" rIns="91440" bIns="45720" rtlCol="0" anchor="t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7678736" y="5883275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lumMod val="95000"/>
                  </a:schemeClr>
                </a:solidFill>
                <a:effectLst>
                  <a:outerShdw blurRad="50800" dist="38100" dir="2700000" algn="tl" rotWithShape="0">
                    <a:schemeClr val="bg1">
                      <a:alpha val="43000"/>
                    </a:schemeClr>
                  </a:outerShdw>
                </a:effectLst>
              </a:defRPr>
            </a:lvl1pPr>
          </a:lstStyle>
          <a:p>
            <a:fld id="{72DB0C44-5B28-495E-A020-6785C9410D38}" type="datetimeFigureOut">
              <a:rPr lang="en-US" smtClean="0"/>
              <a:t>8/17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913795" y="5883275"/>
            <a:ext cx="667286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lumMod val="95000"/>
                  </a:schemeClr>
                </a:solidFill>
                <a:effectLst>
                  <a:outerShdw blurRad="50800" dist="38100" dir="2700000" algn="tl" rotWithShape="0">
                    <a:schemeClr val="bg1">
                      <a:alpha val="43000"/>
                    </a:schemeClr>
                  </a:outerShdw>
                </a:effectLst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514011" y="5883275"/>
            <a:ext cx="75354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lumMod val="95000"/>
                  </a:schemeClr>
                </a:solidFill>
                <a:effectLst>
                  <a:outerShdw blurRad="50800" dist="38100" dir="2700000" algn="tl" rotWithShape="0">
                    <a:schemeClr val="bg1">
                      <a:alpha val="43000"/>
                    </a:schemeClr>
                  </a:outerShdw>
                </a:effectLst>
              </a:defRPr>
            </a:lvl1pPr>
          </a:lstStyle>
          <a:p>
            <a:fld id="{141856C2-6CA8-4989-BEB2-F510FB5AE03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58318390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  <p:sldLayoutId id="2147483666" r:id="rId5"/>
    <p:sldLayoutId id="2147483667" r:id="rId6"/>
    <p:sldLayoutId id="2147483668" r:id="rId7"/>
    <p:sldLayoutId id="2147483669" r:id="rId8"/>
    <p:sldLayoutId id="2147483670" r:id="rId9"/>
    <p:sldLayoutId id="2147483671" r:id="rId10"/>
    <p:sldLayoutId id="2147483672" r:id="rId11"/>
    <p:sldLayoutId id="2147483673" r:id="rId12"/>
    <p:sldLayoutId id="2147483674" r:id="rId13"/>
    <p:sldLayoutId id="2147483675" r:id="rId14"/>
    <p:sldLayoutId id="2147483676" r:id="rId15"/>
    <p:sldLayoutId id="2147483677" r:id="rId16"/>
    <p:sldLayoutId id="2147483678" r:id="rId17"/>
  </p:sldLayoutIdLst>
  <p:txStyles>
    <p:titleStyle>
      <a:lvl1pPr algn="ctr" defTabSz="457200" rtl="0" eaLnBrk="1" latinLnBrk="0" hangingPunct="1">
        <a:spcBef>
          <a:spcPct val="0"/>
        </a:spcBef>
        <a:buNone/>
        <a:defRPr sz="4000" kern="1200">
          <a:ln>
            <a:solidFill>
              <a:schemeClr val="bg1">
                <a:lumMod val="75000"/>
                <a:lumOff val="25000"/>
                <a:alpha val="10000"/>
              </a:schemeClr>
            </a:solidFill>
          </a:ln>
          <a:solidFill>
            <a:schemeClr val="tx2"/>
          </a:solidFill>
          <a:effectLst>
            <a:outerShdw blurRad="9525" dist="25400" dir="14640000" algn="tl" rotWithShape="0">
              <a:schemeClr val="bg1">
                <a:alpha val="30000"/>
              </a:schemeClr>
            </a:outerShdw>
          </a:effectLst>
          <a:latin typeface="+mj-lt"/>
          <a:ea typeface="+mj-ea"/>
          <a:cs typeface="Trebuchet M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342900" indent="-306000" algn="l" defTabSz="457200" rtl="0" eaLnBrk="1" latinLnBrk="0" hangingPunct="1">
        <a:spcBef>
          <a:spcPct val="20000"/>
        </a:spcBef>
        <a:spcAft>
          <a:spcPts val="600"/>
        </a:spcAft>
        <a:buClr>
          <a:schemeClr val="tx2"/>
        </a:buClr>
        <a:buSzPct val="70000"/>
        <a:buFont typeface="Wingdings 2" charset="2"/>
        <a:buChar char=""/>
        <a:defRPr sz="2000" kern="1200">
          <a:ln>
            <a:solidFill>
              <a:schemeClr val="bg1">
                <a:lumMod val="75000"/>
                <a:lumOff val="25000"/>
                <a:alpha val="10000"/>
              </a:schemeClr>
            </a:solidFill>
          </a:ln>
          <a:solidFill>
            <a:schemeClr val="tx2"/>
          </a:solidFill>
          <a:effectLst>
            <a:outerShdw blurRad="9525" dist="25400" dir="14640000" algn="tl" rotWithShape="0">
              <a:schemeClr val="bg1">
                <a:alpha val="30000"/>
              </a:schemeClr>
            </a:outerShdw>
          </a:effectLst>
          <a:latin typeface="+mn-lt"/>
          <a:ea typeface="+mn-ea"/>
          <a:cs typeface="+mn-cs"/>
        </a:defRPr>
      </a:lvl1pPr>
      <a:lvl2pPr marL="720000" indent="-270000" algn="l" defTabSz="457200" rtl="0" eaLnBrk="1" latinLnBrk="0" hangingPunct="1">
        <a:spcBef>
          <a:spcPct val="20000"/>
        </a:spcBef>
        <a:spcAft>
          <a:spcPts val="600"/>
        </a:spcAft>
        <a:buClr>
          <a:schemeClr val="tx2"/>
        </a:buClr>
        <a:buSzPct val="70000"/>
        <a:buFont typeface="Wingdings 2" charset="2"/>
        <a:buChar char=""/>
        <a:defRPr sz="1800" kern="1200">
          <a:ln>
            <a:solidFill>
              <a:schemeClr val="bg1">
                <a:lumMod val="75000"/>
                <a:lumOff val="25000"/>
                <a:alpha val="10000"/>
              </a:schemeClr>
            </a:solidFill>
          </a:ln>
          <a:solidFill>
            <a:schemeClr val="tx2"/>
          </a:solidFill>
          <a:effectLst>
            <a:outerShdw blurRad="9525" dist="25400" dir="14640000" algn="tl" rotWithShape="0">
              <a:schemeClr val="bg1">
                <a:alpha val="30000"/>
              </a:schemeClr>
            </a:outerShdw>
          </a:effectLst>
          <a:latin typeface="+mn-lt"/>
          <a:ea typeface="+mn-ea"/>
          <a:cs typeface="+mn-cs"/>
        </a:defRPr>
      </a:lvl2pPr>
      <a:lvl3pPr marL="1026000" indent="-216000" algn="l" defTabSz="457200" rtl="0" eaLnBrk="1" latinLnBrk="0" hangingPunct="1">
        <a:spcBef>
          <a:spcPct val="20000"/>
        </a:spcBef>
        <a:spcAft>
          <a:spcPts val="600"/>
        </a:spcAft>
        <a:buClr>
          <a:schemeClr val="tx2"/>
        </a:buClr>
        <a:buSzPct val="70000"/>
        <a:buFont typeface="Wingdings 2" charset="2"/>
        <a:buChar char=""/>
        <a:defRPr sz="1600" kern="1200">
          <a:ln>
            <a:solidFill>
              <a:schemeClr val="bg1">
                <a:lumMod val="75000"/>
                <a:lumOff val="25000"/>
                <a:alpha val="10000"/>
              </a:schemeClr>
            </a:solidFill>
          </a:ln>
          <a:solidFill>
            <a:schemeClr val="tx2"/>
          </a:solidFill>
          <a:effectLst>
            <a:outerShdw blurRad="9525" dist="25400" dir="14640000" algn="tl" rotWithShape="0">
              <a:schemeClr val="bg1">
                <a:alpha val="30000"/>
              </a:schemeClr>
            </a:outerShdw>
          </a:effectLst>
          <a:latin typeface="+mn-lt"/>
          <a:ea typeface="+mn-ea"/>
          <a:cs typeface="+mn-cs"/>
        </a:defRPr>
      </a:lvl3pPr>
      <a:lvl4pPr marL="1386000" indent="-216000" algn="l" defTabSz="457200" rtl="0" eaLnBrk="1" latinLnBrk="0" hangingPunct="1">
        <a:spcBef>
          <a:spcPct val="20000"/>
        </a:spcBef>
        <a:spcAft>
          <a:spcPts val="600"/>
        </a:spcAft>
        <a:buClr>
          <a:schemeClr val="tx2"/>
        </a:buClr>
        <a:buSzPct val="70000"/>
        <a:buFont typeface="Wingdings 2" charset="2"/>
        <a:buChar char=""/>
        <a:defRPr sz="1400" kern="1200">
          <a:ln>
            <a:solidFill>
              <a:schemeClr val="bg1">
                <a:lumMod val="75000"/>
                <a:lumOff val="25000"/>
                <a:alpha val="10000"/>
              </a:schemeClr>
            </a:solidFill>
          </a:ln>
          <a:solidFill>
            <a:schemeClr val="tx2"/>
          </a:solidFill>
          <a:effectLst>
            <a:outerShdw blurRad="9525" dist="25400" dir="14640000" algn="tl" rotWithShape="0">
              <a:schemeClr val="bg1">
                <a:alpha val="30000"/>
              </a:schemeClr>
            </a:outerShdw>
          </a:effectLst>
          <a:latin typeface="+mn-lt"/>
          <a:ea typeface="+mn-ea"/>
          <a:cs typeface="+mn-cs"/>
        </a:defRPr>
      </a:lvl4pPr>
      <a:lvl5pPr marL="1674000" indent="-216000" algn="l" defTabSz="457200" rtl="0" eaLnBrk="1" latinLnBrk="0" hangingPunct="1">
        <a:spcBef>
          <a:spcPct val="20000"/>
        </a:spcBef>
        <a:spcAft>
          <a:spcPts val="600"/>
        </a:spcAft>
        <a:buClr>
          <a:schemeClr val="tx2"/>
        </a:buClr>
        <a:buSzPct val="70000"/>
        <a:buFont typeface="Wingdings 2" charset="2"/>
        <a:buChar char=""/>
        <a:defRPr sz="1400" kern="1200">
          <a:ln>
            <a:solidFill>
              <a:schemeClr val="bg1">
                <a:lumMod val="75000"/>
                <a:lumOff val="25000"/>
                <a:alpha val="10000"/>
              </a:schemeClr>
            </a:solidFill>
          </a:ln>
          <a:solidFill>
            <a:schemeClr val="tx2"/>
          </a:solidFill>
          <a:effectLst>
            <a:outerShdw blurRad="9525" dist="25400" dir="14640000" algn="tl" rotWithShape="0">
              <a:schemeClr val="bg1">
                <a:alpha val="30000"/>
              </a:schemeClr>
            </a:outerShdw>
          </a:effectLst>
          <a:latin typeface="+mn-lt"/>
          <a:ea typeface="+mn-ea"/>
          <a:cs typeface="+mn-cs"/>
        </a:defRPr>
      </a:lvl5pPr>
      <a:lvl6pPr marL="2014600" indent="-228600" algn="l" defTabSz="457200" rtl="0" eaLnBrk="1" latinLnBrk="0" hangingPunct="1">
        <a:spcBef>
          <a:spcPct val="20000"/>
        </a:spcBef>
        <a:spcAft>
          <a:spcPts val="600"/>
        </a:spcAft>
        <a:buClr>
          <a:schemeClr val="tx2"/>
        </a:buClr>
        <a:buSzPct val="70000"/>
        <a:buFont typeface="Wingdings 2" charset="2"/>
        <a:buChar char=""/>
        <a:defRPr sz="1400" kern="1200">
          <a:ln>
            <a:solidFill>
              <a:schemeClr val="bg1">
                <a:lumMod val="75000"/>
                <a:lumOff val="25000"/>
                <a:alpha val="10000"/>
              </a:schemeClr>
            </a:solidFill>
          </a:ln>
          <a:solidFill>
            <a:schemeClr val="tx2"/>
          </a:solidFill>
          <a:effectLst>
            <a:outerShdw blurRad="9525" dist="25400" dir="14640000" algn="tl" rotWithShape="0">
              <a:schemeClr val="bg1">
                <a:alpha val="30000"/>
              </a:schemeClr>
            </a:outerShdw>
          </a:effectLst>
          <a:latin typeface="+mn-lt"/>
          <a:ea typeface="+mn-ea"/>
          <a:cs typeface="+mn-cs"/>
        </a:defRPr>
      </a:lvl6pPr>
      <a:lvl7pPr marL="2401800" indent="-228600" algn="l" defTabSz="457200" rtl="0" eaLnBrk="1" latinLnBrk="0" hangingPunct="1">
        <a:spcBef>
          <a:spcPct val="20000"/>
        </a:spcBef>
        <a:spcAft>
          <a:spcPts val="600"/>
        </a:spcAft>
        <a:buClr>
          <a:schemeClr val="tx2"/>
        </a:buClr>
        <a:buSzPct val="70000"/>
        <a:buFont typeface="Wingdings 2" charset="2"/>
        <a:buChar char=""/>
        <a:defRPr sz="1400" kern="1200">
          <a:ln>
            <a:solidFill>
              <a:schemeClr val="bg1">
                <a:lumMod val="75000"/>
                <a:lumOff val="25000"/>
                <a:alpha val="10000"/>
              </a:schemeClr>
            </a:solidFill>
          </a:ln>
          <a:solidFill>
            <a:schemeClr val="tx2"/>
          </a:solidFill>
          <a:effectLst>
            <a:outerShdw blurRad="9525" dist="25400" dir="14640000" algn="tl" rotWithShape="0">
              <a:schemeClr val="bg1">
                <a:alpha val="30000"/>
              </a:schemeClr>
            </a:outerShdw>
          </a:effectLst>
          <a:latin typeface="+mn-lt"/>
          <a:ea typeface="+mn-ea"/>
          <a:cs typeface="+mn-cs"/>
        </a:defRPr>
      </a:lvl7pPr>
      <a:lvl8pPr marL="2789000" indent="-228600" algn="l" defTabSz="457200" rtl="0" eaLnBrk="1" latinLnBrk="0" hangingPunct="1">
        <a:spcBef>
          <a:spcPct val="20000"/>
        </a:spcBef>
        <a:spcAft>
          <a:spcPts val="600"/>
        </a:spcAft>
        <a:buClr>
          <a:schemeClr val="tx2"/>
        </a:buClr>
        <a:buSzPct val="70000"/>
        <a:buFont typeface="Wingdings 2" charset="2"/>
        <a:buChar char=""/>
        <a:defRPr sz="1400" kern="1200">
          <a:ln>
            <a:solidFill>
              <a:schemeClr val="bg1">
                <a:lumMod val="75000"/>
                <a:lumOff val="25000"/>
                <a:alpha val="10000"/>
              </a:schemeClr>
            </a:solidFill>
          </a:ln>
          <a:solidFill>
            <a:schemeClr val="tx2"/>
          </a:solidFill>
          <a:effectLst>
            <a:outerShdw blurRad="9525" dist="25400" dir="14640000" algn="tl" rotWithShape="0">
              <a:schemeClr val="bg1">
                <a:alpha val="30000"/>
              </a:schemeClr>
            </a:outerShdw>
          </a:effectLst>
          <a:latin typeface="+mn-lt"/>
          <a:ea typeface="+mn-ea"/>
          <a:cs typeface="+mn-cs"/>
        </a:defRPr>
      </a:lvl8pPr>
      <a:lvl9pPr marL="3106200" indent="-228600" algn="l" defTabSz="457200" rtl="0" eaLnBrk="1" latinLnBrk="0" hangingPunct="1">
        <a:spcBef>
          <a:spcPct val="20000"/>
        </a:spcBef>
        <a:spcAft>
          <a:spcPts val="600"/>
        </a:spcAft>
        <a:buClr>
          <a:schemeClr val="tx2"/>
        </a:buClr>
        <a:buSzPct val="70000"/>
        <a:buFont typeface="Wingdings 2" charset="2"/>
        <a:buChar char=""/>
        <a:defRPr sz="1400" kern="1200">
          <a:ln>
            <a:solidFill>
              <a:schemeClr val="bg1">
                <a:lumMod val="75000"/>
                <a:lumOff val="25000"/>
                <a:alpha val="10000"/>
              </a:schemeClr>
            </a:solidFill>
          </a:ln>
          <a:solidFill>
            <a:schemeClr val="tx2"/>
          </a:solidFill>
          <a:effectLst>
            <a:outerShdw blurRad="9525" dist="25400" dir="14640000" algn="tl" rotWithShape="0">
              <a:schemeClr val="bg1">
                <a:alpha val="30000"/>
              </a:schemeClr>
            </a:outerShdw>
          </a:effectLst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Google Shape;6;p1"/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9pPr>
          </a:lstStyle>
          <a:p>
            <a:endParaRPr/>
          </a:p>
        </p:txBody>
      </p:sp>
      <p:sp>
        <p:nvSpPr>
          <p:cNvPr id="7" name="Google Shape;7;p1"/>
          <p:cNvSpPr txBox="1">
            <a:spLocks noGrp="1"/>
          </p:cNvSpPr>
          <p:nvPr>
            <p:ph type="body" idx="1"/>
          </p:nvPr>
        </p:nvSpPr>
        <p:spPr>
          <a:xfrm>
            <a:off x="415600" y="1536633"/>
            <a:ext cx="11360800" cy="455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marL="457200" lvl="0" indent="-34290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Char char="●"/>
              <a:defRPr sz="1800">
                <a:solidFill>
                  <a:schemeClr val="dk2"/>
                </a:solidFill>
              </a:defRPr>
            </a:lvl1pPr>
            <a:lvl2pPr marL="914400" lvl="1" indent="-31750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Char char="○"/>
              <a:defRPr>
                <a:solidFill>
                  <a:schemeClr val="dk2"/>
                </a:solidFill>
              </a:defRPr>
            </a:lvl2pPr>
            <a:lvl3pPr marL="1371600" lvl="2" indent="-31750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Char char="■"/>
              <a:defRPr>
                <a:solidFill>
                  <a:schemeClr val="dk2"/>
                </a:solidFill>
              </a:defRPr>
            </a:lvl3pPr>
            <a:lvl4pPr marL="1828800" lvl="3" indent="-31750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Char char="●"/>
              <a:defRPr>
                <a:solidFill>
                  <a:schemeClr val="dk2"/>
                </a:solidFill>
              </a:defRPr>
            </a:lvl4pPr>
            <a:lvl5pPr marL="2286000" lvl="4" indent="-31750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Char char="○"/>
              <a:defRPr>
                <a:solidFill>
                  <a:schemeClr val="dk2"/>
                </a:solidFill>
              </a:defRPr>
            </a:lvl5pPr>
            <a:lvl6pPr marL="2743200" lvl="5" indent="-31750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Char char="■"/>
              <a:defRPr>
                <a:solidFill>
                  <a:schemeClr val="dk2"/>
                </a:solidFill>
              </a:defRPr>
            </a:lvl6pPr>
            <a:lvl7pPr marL="3200400" lvl="6" indent="-31750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Char char="●"/>
              <a:defRPr>
                <a:solidFill>
                  <a:schemeClr val="dk2"/>
                </a:solidFill>
              </a:defRPr>
            </a:lvl7pPr>
            <a:lvl8pPr marL="3657600" lvl="7" indent="-31750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Char char="○"/>
              <a:defRPr>
                <a:solidFill>
                  <a:schemeClr val="dk2"/>
                </a:solidFill>
              </a:defRPr>
            </a:lvl8pPr>
            <a:lvl9pPr marL="4114800" lvl="8" indent="-31750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Char char="■"/>
              <a:defRPr>
                <a:solidFill>
                  <a:schemeClr val="dk2"/>
                </a:solidFill>
              </a:defRPr>
            </a:lvl9pPr>
          </a:lstStyle>
          <a:p>
            <a:endParaRPr/>
          </a:p>
        </p:txBody>
      </p:sp>
      <p:sp>
        <p:nvSpPr>
          <p:cNvPr id="8" name="Google Shape;8;p1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lvl="0" algn="r" rtl="0">
              <a:buNone/>
              <a:defRPr sz="1333">
                <a:solidFill>
                  <a:schemeClr val="dk2"/>
                </a:solidFill>
              </a:defRPr>
            </a:lvl1pPr>
            <a:lvl2pPr lvl="1" algn="r" rtl="0">
              <a:buNone/>
              <a:defRPr sz="1333">
                <a:solidFill>
                  <a:schemeClr val="dk2"/>
                </a:solidFill>
              </a:defRPr>
            </a:lvl2pPr>
            <a:lvl3pPr lvl="2" algn="r" rtl="0">
              <a:buNone/>
              <a:defRPr sz="1333">
                <a:solidFill>
                  <a:schemeClr val="dk2"/>
                </a:solidFill>
              </a:defRPr>
            </a:lvl3pPr>
            <a:lvl4pPr lvl="3" algn="r" rtl="0">
              <a:buNone/>
              <a:defRPr sz="1333">
                <a:solidFill>
                  <a:schemeClr val="dk2"/>
                </a:solidFill>
              </a:defRPr>
            </a:lvl4pPr>
            <a:lvl5pPr lvl="4" algn="r" rtl="0">
              <a:buNone/>
              <a:defRPr sz="1333">
                <a:solidFill>
                  <a:schemeClr val="dk2"/>
                </a:solidFill>
              </a:defRPr>
            </a:lvl5pPr>
            <a:lvl6pPr lvl="5" algn="r" rtl="0">
              <a:buNone/>
              <a:defRPr sz="1333">
                <a:solidFill>
                  <a:schemeClr val="dk2"/>
                </a:solidFill>
              </a:defRPr>
            </a:lvl6pPr>
            <a:lvl7pPr lvl="6" algn="r" rtl="0">
              <a:buNone/>
              <a:defRPr sz="1333">
                <a:solidFill>
                  <a:schemeClr val="dk2"/>
                </a:solidFill>
              </a:defRPr>
            </a:lvl7pPr>
            <a:lvl8pPr lvl="7" algn="r" rtl="0">
              <a:buNone/>
              <a:defRPr sz="1333">
                <a:solidFill>
                  <a:schemeClr val="dk2"/>
                </a:solidFill>
              </a:defRPr>
            </a:lvl8pPr>
            <a:lvl9pPr lvl="8" algn="r" rtl="0">
              <a:buNone/>
              <a:defRPr sz="1333">
                <a:solidFill>
                  <a:schemeClr val="dk2"/>
                </a:solidFill>
              </a:defRPr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2050176352"/>
      </p:ext>
    </p:extLst>
  </p:cSld>
  <p:clrMap bg1="lt1" tx1="dk1" bg2="dk2" tx2="lt2" accent1="accent1" accent2="accent2" accent3="accent3" accent4="accent4" accent5="accent5" accent6="accent6" hlink="hlink" folHlink="folHlink"/>
  <p:sldLayoutIdLst>
    <p:sldLayoutId id="2147483680" r:id="rId1"/>
    <p:sldLayoutId id="2147483681" r:id="rId2"/>
    <p:sldLayoutId id="2147483682" r:id="rId3"/>
    <p:sldLayoutId id="2147483683" r:id="rId4"/>
    <p:sldLayoutId id="2147483684" r:id="rId5"/>
    <p:sldLayoutId id="2147483685" r:id="rId6"/>
    <p:sldLayoutId id="2147483686" r:id="rId7"/>
    <p:sldLayoutId id="2147483687" r:id="rId8"/>
    <p:sldLayoutId id="2147483688" r:id="rId9"/>
    <p:sldLayoutId id="2147483689" r:id="rId10"/>
    <p:sldLayoutId id="2147483690" r:id="rId11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jpeg"/><Relationship Id="rId2" Type="http://schemas.openxmlformats.org/officeDocument/2006/relationships/image" Target="../media/image29.jpe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5" Type="http://schemas.openxmlformats.org/officeDocument/2006/relationships/chart" Target="../charts/chart3.xml"/><Relationship Id="rId4" Type="http://schemas.openxmlformats.org/officeDocument/2006/relationships/chart" Target="../charts/chart2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chart" Target="../charts/chart9.xml"/><Relationship Id="rId3" Type="http://schemas.openxmlformats.org/officeDocument/2006/relationships/chart" Target="../charts/chart4.xml"/><Relationship Id="rId7" Type="http://schemas.openxmlformats.org/officeDocument/2006/relationships/chart" Target="../charts/chart8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.xml"/><Relationship Id="rId6" Type="http://schemas.openxmlformats.org/officeDocument/2006/relationships/chart" Target="../charts/chart7.xml"/><Relationship Id="rId5" Type="http://schemas.openxmlformats.org/officeDocument/2006/relationships/chart" Target="../charts/chart6.xml"/><Relationship Id="rId4" Type="http://schemas.openxmlformats.org/officeDocument/2006/relationships/chart" Target="../charts/chart5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jpeg"/><Relationship Id="rId2" Type="http://schemas.openxmlformats.org/officeDocument/2006/relationships/image" Target="../media/image31.jpe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33.jpeg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hyperlink" Target="https://smccd.edu/return-to-campus/index.php" TargetMode="External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hyperlink" Target="https://patch.com/california/sanbruno/time-bomb-ticking-see-rental-arrears-san-mateo-county" TargetMode="External"/><Relationship Id="rId2" Type="http://schemas.openxmlformats.org/officeDocument/2006/relationships/image" Target="../media/image34.jpeg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hyperlink" Target="https://canadacollege.edu/emp/RWC%20NFO%20Needs%20Assessment%20Slides%203.19.21.pdf" TargetMode="Externa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hyperlink" Target="https://canadacollege.edu/emp/RWC%20NFO%20Needs%20Assessment%20Slides%203.19.21.pdf" TargetMode="Externa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2.xml"/><Relationship Id="rId5" Type="http://schemas.openxmlformats.org/officeDocument/2006/relationships/hyperlink" Target="https://canadacollege.edu/emp/RWC%20NFO%20Needs%20Assessment%20Slides%203.19.21.pdf" TargetMode="External"/><Relationship Id="rId4" Type="http://schemas.openxmlformats.org/officeDocument/2006/relationships/image" Target="../media/image36.png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hyperlink" Target="https://canadacollege.edu/about/mission.php" TargetMode="External"/><Relationship Id="rId13" Type="http://schemas.openxmlformats.org/officeDocument/2006/relationships/hyperlink" Target="https://canadacollege.edu/prie/surveys.php" TargetMode="External"/><Relationship Id="rId3" Type="http://schemas.openxmlformats.org/officeDocument/2006/relationships/hyperlink" Target="https://smccd-my.sharepoint.com/personal/engelk_smccd_edu/Documents/Management%20-%20Cabinet/Leadership%20Retreat%20July%202021/Materials%20for%20Retreat" TargetMode="External"/><Relationship Id="rId7" Type="http://schemas.openxmlformats.org/officeDocument/2006/relationships/hyperlink" Target="https://canadacollege.edu/planningbudgetingcouncil/2021/SEA%20College%20Level%20Brief%20La%20Canada%20College%20Edited%20FINAL.pdf" TargetMode="External"/><Relationship Id="rId12" Type="http://schemas.openxmlformats.org/officeDocument/2006/relationships/hyperlink" Target="https://canadacollege.edu/antiracism/Canada%20College%20Focus%20Group%20Findings%20Spring%202021-final.pdf" TargetMode="External"/><Relationship Id="rId2" Type="http://schemas.openxmlformats.org/officeDocument/2006/relationships/hyperlink" Target="https://canadacollege.edu/emp/Recovery-with-Equity_2021Feb15.pdf" TargetMode="External"/><Relationship Id="rId1" Type="http://schemas.openxmlformats.org/officeDocument/2006/relationships/slideLayout" Target="../slideLayouts/slideLayout5.xml"/><Relationship Id="rId6" Type="http://schemas.openxmlformats.org/officeDocument/2006/relationships/hyperlink" Target="https://www.cccco.edu/About-Us/Chancellors-Office/Divisions/Educational-Services-and-Support/Student-Service/What-we-do/Student-Equity" TargetMode="External"/><Relationship Id="rId11" Type="http://schemas.openxmlformats.org/officeDocument/2006/relationships/hyperlink" Target="https://canadacollege.edu/planningbudgetingcouncil/2021/FULL%20PBC%20PROPOSAL%20-%20Canada%20College%20Antiracism%20Taskforce%204-21-2021.pdf" TargetMode="External"/><Relationship Id="rId5" Type="http://schemas.openxmlformats.org/officeDocument/2006/relationships/hyperlink" Target="https://www.cccco.edu/College-Professionals/Guided-Pathways" TargetMode="External"/><Relationship Id="rId10" Type="http://schemas.openxmlformats.org/officeDocument/2006/relationships/hyperlink" Target="https://canadacollege.edu/aces/SEAP%20Exec%20Summary_Final_6.27.19.pdf" TargetMode="External"/><Relationship Id="rId4" Type="http://schemas.openxmlformats.org/officeDocument/2006/relationships/hyperlink" Target="https://www.cccco.edu/-/media/CCCCO-Website/Reports/CCCCO_DEI_Report.pdf?la=en&amp;hash=69E11E4DAB1DEBA3181E053BEE89E7BC3A709BEE" TargetMode="External"/><Relationship Id="rId9" Type="http://schemas.openxmlformats.org/officeDocument/2006/relationships/hyperlink" Target="https://canadacollege.edu/guidedpathways/" TargetMode="External"/><Relationship Id="rId14" Type="http://schemas.openxmlformats.org/officeDocument/2006/relationships/hyperlink" Target="https://race.usc.edu/wp-content/uploads/2020/07/NACCC-FAQs.pdf" TargetMode="Externa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7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gif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0.xml"/><Relationship Id="rId4" Type="http://schemas.openxmlformats.org/officeDocument/2006/relationships/image" Target="../media/image39.pn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jp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2.xml"/><Relationship Id="rId5" Type="http://schemas.openxmlformats.org/officeDocument/2006/relationships/image" Target="../media/image42.png"/><Relationship Id="rId4" Type="http://schemas.openxmlformats.org/officeDocument/2006/relationships/image" Target="../media/image41.pn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hyperlink" Target="https://smccd.instructure.com/courses/33551" TargetMode="External"/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32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32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32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32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32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32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32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32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32.xml"/></Relationships>
</file>

<file path=ppt/slides/_rels/slide39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facebook.com/careerladders" TargetMode="External"/><Relationship Id="rId13" Type="http://schemas.openxmlformats.org/officeDocument/2006/relationships/hyperlink" Target="mailto:msimotas@careerladdersproject.org" TargetMode="External"/><Relationship Id="rId3" Type="http://schemas.openxmlformats.org/officeDocument/2006/relationships/image" Target="../media/image38.gif"/><Relationship Id="rId7" Type="http://schemas.openxmlformats.org/officeDocument/2006/relationships/image" Target="../media/image45.png"/><Relationship Id="rId12" Type="http://schemas.openxmlformats.org/officeDocument/2006/relationships/hyperlink" Target="mailto:lchavez@careerladdersproject.org" TargetMode="External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32.xml"/><Relationship Id="rId6" Type="http://schemas.openxmlformats.org/officeDocument/2006/relationships/hyperlink" Target="https://www.youtube.com/user/CareerLaddersProject" TargetMode="External"/><Relationship Id="rId11" Type="http://schemas.openxmlformats.org/officeDocument/2006/relationships/image" Target="../media/image47.png"/><Relationship Id="rId5" Type="http://schemas.openxmlformats.org/officeDocument/2006/relationships/image" Target="../media/image44.png"/><Relationship Id="rId10" Type="http://schemas.openxmlformats.org/officeDocument/2006/relationships/hyperlink" Target="https://www.instagram.com/careerladdersproject/" TargetMode="External"/><Relationship Id="rId4" Type="http://schemas.openxmlformats.org/officeDocument/2006/relationships/hyperlink" Target="https://twitter.com/clporg" TargetMode="External"/><Relationship Id="rId9" Type="http://schemas.openxmlformats.org/officeDocument/2006/relationships/image" Target="../media/image46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g"/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0.jpg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hyperlink" Target="https://canadacollege.edu/plans/leadership-retreat.php" TargetMode="External"/><Relationship Id="rId1" Type="http://schemas.openxmlformats.org/officeDocument/2006/relationships/slideLayout" Target="../slideLayouts/slideLayout6.xml"/></Relationships>
</file>

<file path=ppt/slides/_rels/slide4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6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4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49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3.xml"/><Relationship Id="rId13" Type="http://schemas.openxmlformats.org/officeDocument/2006/relationships/diagramLayout" Target="../diagrams/layout4.xml"/><Relationship Id="rId3" Type="http://schemas.openxmlformats.org/officeDocument/2006/relationships/diagramLayout" Target="../diagrams/layout2.xml"/><Relationship Id="rId7" Type="http://schemas.openxmlformats.org/officeDocument/2006/relationships/diagramData" Target="../diagrams/data3.xml"/><Relationship Id="rId12" Type="http://schemas.openxmlformats.org/officeDocument/2006/relationships/diagramData" Target="../diagrams/data4.xml"/><Relationship Id="rId2" Type="http://schemas.openxmlformats.org/officeDocument/2006/relationships/diagramData" Target="../diagrams/data2.xml"/><Relationship Id="rId16" Type="http://schemas.microsoft.com/office/2007/relationships/diagramDrawing" Target="../diagrams/drawing4.xml"/><Relationship Id="rId1" Type="http://schemas.openxmlformats.org/officeDocument/2006/relationships/slideLayout" Target="../slideLayouts/slideLayout14.xml"/><Relationship Id="rId6" Type="http://schemas.microsoft.com/office/2007/relationships/diagramDrawing" Target="../diagrams/drawing2.xml"/><Relationship Id="rId11" Type="http://schemas.microsoft.com/office/2007/relationships/diagramDrawing" Target="../diagrams/drawing3.xml"/><Relationship Id="rId5" Type="http://schemas.openxmlformats.org/officeDocument/2006/relationships/diagramColors" Target="../diagrams/colors2.xml"/><Relationship Id="rId15" Type="http://schemas.openxmlformats.org/officeDocument/2006/relationships/diagramColors" Target="../diagrams/colors4.xml"/><Relationship Id="rId10" Type="http://schemas.openxmlformats.org/officeDocument/2006/relationships/diagramColors" Target="../diagrams/colors3.xml"/><Relationship Id="rId4" Type="http://schemas.openxmlformats.org/officeDocument/2006/relationships/diagramQuickStyle" Target="../diagrams/quickStyle2.xml"/><Relationship Id="rId9" Type="http://schemas.openxmlformats.org/officeDocument/2006/relationships/diagramQuickStyle" Target="../diagrams/quickStyle3.xml"/><Relationship Id="rId14" Type="http://schemas.openxmlformats.org/officeDocument/2006/relationships/diagramQuickStyle" Target="../diagrams/quickStyle4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2.xml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hyperlink" Target="https://canadacollege.edu/emp/emp-data.php" TargetMode="External"/><Relationship Id="rId2" Type="http://schemas.openxmlformats.org/officeDocument/2006/relationships/hyperlink" Target="https://canadacollege.edu/emp/meetings.php" TargetMode="External"/><Relationship Id="rId1" Type="http://schemas.openxmlformats.org/officeDocument/2006/relationships/slideLayout" Target="../slideLayouts/slideLayout2.xml"/></Relationships>
</file>

<file path=ppt/slides/_rels/slide5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8.jpeg"/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7" Type="http://schemas.openxmlformats.org/officeDocument/2006/relationships/image" Target="../media/image17.jpeg"/><Relationship Id="rId2" Type="http://schemas.openxmlformats.org/officeDocument/2006/relationships/image" Target="../media/image12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6.jpeg"/><Relationship Id="rId5" Type="http://schemas.openxmlformats.org/officeDocument/2006/relationships/image" Target="../media/image15.jpeg"/><Relationship Id="rId4" Type="http://schemas.openxmlformats.org/officeDocument/2006/relationships/image" Target="../media/image14.jpe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eg"/><Relationship Id="rId2" Type="http://schemas.openxmlformats.org/officeDocument/2006/relationships/image" Target="../media/image18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2.jpg"/><Relationship Id="rId5" Type="http://schemas.openxmlformats.org/officeDocument/2006/relationships/image" Target="../media/image21.jpeg"/><Relationship Id="rId4" Type="http://schemas.openxmlformats.org/officeDocument/2006/relationships/image" Target="../media/image20.jpe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jpeg"/><Relationship Id="rId7" Type="http://schemas.openxmlformats.org/officeDocument/2006/relationships/image" Target="../media/image27.jpg"/><Relationship Id="rId2" Type="http://schemas.openxmlformats.org/officeDocument/2006/relationships/image" Target="../media/image23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6.png"/><Relationship Id="rId5" Type="http://schemas.openxmlformats.org/officeDocument/2006/relationships/image" Target="../media/image25.jpeg"/><Relationship Id="rId4" Type="http://schemas.openxmlformats.org/officeDocument/2006/relationships/image" Target="../media/image14.jpeg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jpe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968420B0-056F-4AF9-A981-CF35673B7397}"/>
              </a:ext>
            </a:extLst>
          </p:cNvPr>
          <p:cNvSpPr/>
          <p:nvPr/>
        </p:nvSpPr>
        <p:spPr>
          <a:xfrm rot="10800000">
            <a:off x="5635326" y="3905282"/>
            <a:ext cx="4473874" cy="605367"/>
          </a:xfrm>
          <a:prstGeom prst="rect">
            <a:avLst/>
          </a:prstGeom>
          <a:gradFill>
            <a:gsLst>
              <a:gs pos="0">
                <a:schemeClr val="bg1">
                  <a:lumMod val="95000"/>
                </a:schemeClr>
              </a:gs>
              <a:gs pos="50000">
                <a:schemeClr val="bg1">
                  <a:lumMod val="95000"/>
                </a:schemeClr>
              </a:gs>
              <a:gs pos="100000">
                <a:schemeClr val="bg1">
                  <a:lumMod val="85000"/>
                </a:schemeClr>
              </a:gs>
            </a:gsLst>
          </a:gradFill>
          <a:ln>
            <a:noFill/>
          </a:ln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BF518A3A-ECE0-42A2-BD7B-43096BD7B6FA}"/>
              </a:ext>
            </a:extLst>
          </p:cNvPr>
          <p:cNvSpPr/>
          <p:nvPr/>
        </p:nvSpPr>
        <p:spPr>
          <a:xfrm>
            <a:off x="366852" y="228614"/>
            <a:ext cx="11458296" cy="690843"/>
          </a:xfrm>
          <a:prstGeom prst="rect">
            <a:avLst/>
          </a:prstGeom>
          <a:solidFill>
            <a:srgbClr val="006633"/>
          </a:solidFill>
          <a:ln>
            <a:noFill/>
          </a:ln>
          <a:effectLst/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/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733704" y="298960"/>
            <a:ext cx="10515600" cy="528108"/>
          </a:xfrm>
        </p:spPr>
        <p:txBody>
          <a:bodyPr>
            <a:normAutofit fontScale="90000"/>
          </a:bodyPr>
          <a:lstStyle/>
          <a:p>
            <a:pPr algn="ctr"/>
            <a:r>
              <a:rPr lang="en-US" sz="3600" b="1" dirty="0">
                <a:solidFill>
                  <a:schemeClr val="bg1"/>
                </a:solidFill>
                <a:effectLst>
                  <a:outerShdw blurRad="50800" dist="50800" dir="5400000" algn="ctr" rotWithShape="0">
                    <a:srgbClr val="000000">
                      <a:alpha val="43137"/>
                    </a:srgbClr>
                  </a:outerShdw>
                </a:effectLst>
                <a:latin typeface="Franklin Gothic Book" panose="020B0503020102020204" pitchFamily="34" charset="0"/>
              </a:rPr>
              <a:t>President’s Welcome</a:t>
            </a:r>
          </a:p>
        </p:txBody>
      </p:sp>
      <p:sp>
        <p:nvSpPr>
          <p:cNvPr id="6" name="Rectangle 9">
            <a:extLst>
              <a:ext uri="{FF2B5EF4-FFF2-40B4-BE49-F238E27FC236}">
                <a16:creationId xmlns:a16="http://schemas.microsoft.com/office/drawing/2014/main" id="{29C5912D-DD36-465B-BD92-BB0220505875}"/>
              </a:ext>
            </a:extLst>
          </p:cNvPr>
          <p:cNvSpPr/>
          <p:nvPr/>
        </p:nvSpPr>
        <p:spPr>
          <a:xfrm rot="10800000" flipH="1">
            <a:off x="366852" y="228614"/>
            <a:ext cx="1788160" cy="690775"/>
          </a:xfrm>
          <a:custGeom>
            <a:avLst/>
            <a:gdLst>
              <a:gd name="connsiteX0" fmla="*/ 0 w 1995342"/>
              <a:gd name="connsiteY0" fmla="*/ 0 h 690843"/>
              <a:gd name="connsiteX1" fmla="*/ 1995342 w 1995342"/>
              <a:gd name="connsiteY1" fmla="*/ 0 h 690843"/>
              <a:gd name="connsiteX2" fmla="*/ 1995342 w 1995342"/>
              <a:gd name="connsiteY2" fmla="*/ 690843 h 690843"/>
              <a:gd name="connsiteX3" fmla="*/ 0 w 1995342"/>
              <a:gd name="connsiteY3" fmla="*/ 690843 h 690843"/>
              <a:gd name="connsiteX4" fmla="*/ 0 w 1995342"/>
              <a:gd name="connsiteY4" fmla="*/ 0 h 690843"/>
              <a:gd name="connsiteX0" fmla="*/ 0 w 1995342"/>
              <a:gd name="connsiteY0" fmla="*/ 0 h 690843"/>
              <a:gd name="connsiteX1" fmla="*/ 1375630 w 1995342"/>
              <a:gd name="connsiteY1" fmla="*/ 0 h 690843"/>
              <a:gd name="connsiteX2" fmla="*/ 1995342 w 1995342"/>
              <a:gd name="connsiteY2" fmla="*/ 690843 h 690843"/>
              <a:gd name="connsiteX3" fmla="*/ 0 w 1995342"/>
              <a:gd name="connsiteY3" fmla="*/ 690843 h 690843"/>
              <a:gd name="connsiteX4" fmla="*/ 0 w 1995342"/>
              <a:gd name="connsiteY4" fmla="*/ 0 h 690843"/>
              <a:gd name="connsiteX0" fmla="*/ 0 w 1995342"/>
              <a:gd name="connsiteY0" fmla="*/ 0 h 690843"/>
              <a:gd name="connsiteX1" fmla="*/ 1427711 w 1995342"/>
              <a:gd name="connsiteY1" fmla="*/ 53873 h 690843"/>
              <a:gd name="connsiteX2" fmla="*/ 1995342 w 1995342"/>
              <a:gd name="connsiteY2" fmla="*/ 690843 h 690843"/>
              <a:gd name="connsiteX3" fmla="*/ 0 w 1995342"/>
              <a:gd name="connsiteY3" fmla="*/ 690843 h 690843"/>
              <a:gd name="connsiteX4" fmla="*/ 0 w 1995342"/>
              <a:gd name="connsiteY4" fmla="*/ 0 h 690843"/>
              <a:gd name="connsiteX0" fmla="*/ 26571 w 1995342"/>
              <a:gd name="connsiteY0" fmla="*/ 15898 h 636970"/>
              <a:gd name="connsiteX1" fmla="*/ 1427711 w 1995342"/>
              <a:gd name="connsiteY1" fmla="*/ 0 h 636970"/>
              <a:gd name="connsiteX2" fmla="*/ 1995342 w 1995342"/>
              <a:gd name="connsiteY2" fmla="*/ 636970 h 636970"/>
              <a:gd name="connsiteX3" fmla="*/ 0 w 1995342"/>
              <a:gd name="connsiteY3" fmla="*/ 636970 h 636970"/>
              <a:gd name="connsiteX4" fmla="*/ 26571 w 1995342"/>
              <a:gd name="connsiteY4" fmla="*/ 15898 h 636970"/>
              <a:gd name="connsiteX0" fmla="*/ 0 w 1995342"/>
              <a:gd name="connsiteY0" fmla="*/ 0 h 640502"/>
              <a:gd name="connsiteX1" fmla="*/ 1427711 w 1995342"/>
              <a:gd name="connsiteY1" fmla="*/ 3532 h 640502"/>
              <a:gd name="connsiteX2" fmla="*/ 1995342 w 1995342"/>
              <a:gd name="connsiteY2" fmla="*/ 640502 h 640502"/>
              <a:gd name="connsiteX3" fmla="*/ 0 w 1995342"/>
              <a:gd name="connsiteY3" fmla="*/ 640502 h 640502"/>
              <a:gd name="connsiteX4" fmla="*/ 0 w 1995342"/>
              <a:gd name="connsiteY4" fmla="*/ 0 h 640502"/>
              <a:gd name="connsiteX0" fmla="*/ 0 w 1995342"/>
              <a:gd name="connsiteY0" fmla="*/ 0 h 640502"/>
              <a:gd name="connsiteX1" fmla="*/ 1420271 w 1995342"/>
              <a:gd name="connsiteY1" fmla="*/ 1765 h 640502"/>
              <a:gd name="connsiteX2" fmla="*/ 1995342 w 1995342"/>
              <a:gd name="connsiteY2" fmla="*/ 640502 h 640502"/>
              <a:gd name="connsiteX3" fmla="*/ 0 w 1995342"/>
              <a:gd name="connsiteY3" fmla="*/ 640502 h 640502"/>
              <a:gd name="connsiteX4" fmla="*/ 0 w 1995342"/>
              <a:gd name="connsiteY4" fmla="*/ 0 h 640502"/>
              <a:gd name="connsiteX0" fmla="*/ 0 w 1995342"/>
              <a:gd name="connsiteY0" fmla="*/ 0 h 640502"/>
              <a:gd name="connsiteX1" fmla="*/ 1439402 w 1995342"/>
              <a:gd name="connsiteY1" fmla="*/ 3532 h 640502"/>
              <a:gd name="connsiteX2" fmla="*/ 1995342 w 1995342"/>
              <a:gd name="connsiteY2" fmla="*/ 640502 h 640502"/>
              <a:gd name="connsiteX3" fmla="*/ 0 w 1995342"/>
              <a:gd name="connsiteY3" fmla="*/ 640502 h 640502"/>
              <a:gd name="connsiteX4" fmla="*/ 0 w 1995342"/>
              <a:gd name="connsiteY4" fmla="*/ 0 h 640502"/>
              <a:gd name="connsiteX0" fmla="*/ 0 w 1995342"/>
              <a:gd name="connsiteY0" fmla="*/ 0 h 640502"/>
              <a:gd name="connsiteX1" fmla="*/ 1441528 w 1995342"/>
              <a:gd name="connsiteY1" fmla="*/ 1765 h 640502"/>
              <a:gd name="connsiteX2" fmla="*/ 1995342 w 1995342"/>
              <a:gd name="connsiteY2" fmla="*/ 640502 h 640502"/>
              <a:gd name="connsiteX3" fmla="*/ 0 w 1995342"/>
              <a:gd name="connsiteY3" fmla="*/ 640502 h 640502"/>
              <a:gd name="connsiteX4" fmla="*/ 0 w 1995342"/>
              <a:gd name="connsiteY4" fmla="*/ 0 h 640502"/>
              <a:gd name="connsiteX0" fmla="*/ 0 w 1995342"/>
              <a:gd name="connsiteY0" fmla="*/ 0 h 640502"/>
              <a:gd name="connsiteX1" fmla="*/ 1442591 w 1995342"/>
              <a:gd name="connsiteY1" fmla="*/ 882 h 640502"/>
              <a:gd name="connsiteX2" fmla="*/ 1995342 w 1995342"/>
              <a:gd name="connsiteY2" fmla="*/ 640502 h 640502"/>
              <a:gd name="connsiteX3" fmla="*/ 0 w 1995342"/>
              <a:gd name="connsiteY3" fmla="*/ 640502 h 640502"/>
              <a:gd name="connsiteX4" fmla="*/ 0 w 1995342"/>
              <a:gd name="connsiteY4" fmla="*/ 0 h 6405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95342" h="640502">
                <a:moveTo>
                  <a:pt x="0" y="0"/>
                </a:moveTo>
                <a:lnTo>
                  <a:pt x="1442591" y="882"/>
                </a:lnTo>
                <a:lnTo>
                  <a:pt x="1995342" y="640502"/>
                </a:lnTo>
                <a:lnTo>
                  <a:pt x="0" y="640502"/>
                </a:lnTo>
                <a:lnTo>
                  <a:pt x="0" y="0"/>
                </a:lnTo>
                <a:close/>
              </a:path>
            </a:pathLst>
          </a:custGeom>
          <a:ln>
            <a:noFill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sz="1100" dirty="0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A706A127-5D94-4F71-B4B9-A46D6E6F1079}"/>
              </a:ext>
            </a:extLst>
          </p:cNvPr>
          <p:cNvSpPr txBox="1">
            <a:spLocks/>
          </p:cNvSpPr>
          <p:nvPr/>
        </p:nvSpPr>
        <p:spPr>
          <a:xfrm>
            <a:off x="6314364" y="3961675"/>
            <a:ext cx="3853217" cy="702691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3200" dirty="0">
                <a:solidFill>
                  <a:srgbClr val="006633"/>
                </a:solidFill>
                <a:latin typeface="Franklin Gothic Medium" panose="020B0603020102020204" pitchFamily="34" charset="0"/>
              </a:rPr>
              <a:t>Kim Lopez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idx="1"/>
          </p:nvPr>
        </p:nvSpPr>
        <p:spPr>
          <a:xfrm>
            <a:off x="6314364" y="4732607"/>
            <a:ext cx="5510783" cy="1627250"/>
          </a:xfrm>
        </p:spPr>
        <p:txBody>
          <a:bodyPr/>
          <a:lstStyle/>
          <a:p>
            <a:pPr marL="0" indent="0">
              <a:buNone/>
            </a:pPr>
            <a:r>
              <a:rPr lang="en-US" dirty="0">
                <a:solidFill>
                  <a:srgbClr val="006633"/>
                </a:solidFill>
                <a:latin typeface="Adobe Garamond Pro" panose="02020502060506020403" pitchFamily="18" charset="0"/>
              </a:rPr>
              <a:t>Interim College President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F62365CC-8421-4C36-BC1E-05BF5FA56DFD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04683" y="1378650"/>
            <a:ext cx="3372954" cy="50532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7870128"/>
      </p:ext>
    </p:extLst>
  </p:cSld>
  <p:clrMapOvr>
    <a:masterClrMapping/>
  </p:clrMapOvr>
  <p:transition spd="slow">
    <p:cover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29070342"/>
              </p:ext>
            </p:extLst>
          </p:nvPr>
        </p:nvGraphicFramePr>
        <p:xfrm>
          <a:off x="2098307" y="4627526"/>
          <a:ext cx="8912994" cy="134112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456497">
                  <a:extLst>
                    <a:ext uri="{9D8B030D-6E8A-4147-A177-3AD203B41FA5}">
                      <a16:colId xmlns:a16="http://schemas.microsoft.com/office/drawing/2014/main" val="2445603517"/>
                    </a:ext>
                  </a:extLst>
                </a:gridCol>
                <a:gridCol w="4456497">
                  <a:extLst>
                    <a:ext uri="{9D8B030D-6E8A-4147-A177-3AD203B41FA5}">
                      <a16:colId xmlns:a16="http://schemas.microsoft.com/office/drawing/2014/main" val="3489188181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marL="36900" indent="0" algn="l" defTabSz="457200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SzPct val="70000"/>
                        <a:buFont typeface="Wingdings 2" charset="2"/>
                        <a:buNone/>
                      </a:pPr>
                      <a:r>
                        <a:rPr lang="en-US" sz="2400" b="1" kern="1200" dirty="0">
                          <a:ln>
                            <a:solidFill>
                              <a:schemeClr val="bg1">
                                <a:lumMod val="75000"/>
                                <a:lumOff val="25000"/>
                                <a:alpha val="10000"/>
                              </a:schemeClr>
                            </a:solidFill>
                          </a:ln>
                          <a:solidFill>
                            <a:schemeClr val="tx2"/>
                          </a:solidFill>
                          <a:effectLst>
                            <a:outerShdw blurRad="9525" dist="25400" dir="14640000" algn="tl" rotWithShape="0">
                              <a:schemeClr val="bg1">
                                <a:alpha val="30000"/>
                              </a:schemeClr>
                            </a:outerShdw>
                          </a:effectLst>
                          <a:latin typeface="+mn-lt"/>
                          <a:ea typeface="+mn-ea"/>
                          <a:cs typeface="+mn-cs"/>
                        </a:rPr>
                        <a:t>David Eck</a:t>
                      </a:r>
                    </a:p>
                    <a:p>
                      <a:pPr marL="36900" indent="0" algn="l" defTabSz="457200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SzPct val="70000"/>
                        <a:buFont typeface="Wingdings 2" charset="2"/>
                        <a:buNone/>
                      </a:pPr>
                      <a:r>
                        <a:rPr lang="en-US" sz="2000" b="0" kern="1200" dirty="0">
                          <a:ln>
                            <a:solidFill>
                              <a:schemeClr val="bg1">
                                <a:lumMod val="75000"/>
                                <a:lumOff val="25000"/>
                                <a:alpha val="10000"/>
                              </a:schemeClr>
                            </a:solidFill>
                          </a:ln>
                          <a:solidFill>
                            <a:schemeClr val="tx2"/>
                          </a:solidFill>
                          <a:effectLst>
                            <a:outerShdw blurRad="9525" dist="25400" dir="14640000" algn="tl" rotWithShape="0">
                              <a:schemeClr val="bg1">
                                <a:alpha val="30000"/>
                              </a:schemeClr>
                            </a:outerShdw>
                          </a:effectLst>
                          <a:latin typeface="+mn-lt"/>
                          <a:ea typeface="+mn-ea"/>
                          <a:cs typeface="+mn-cs"/>
                        </a:rPr>
                        <a:t>Academic Senate President</a:t>
                      </a:r>
                    </a:p>
                    <a:p>
                      <a:pPr marL="36900" indent="0" algn="l" defTabSz="457200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SzPct val="70000"/>
                        <a:buFont typeface="Wingdings 2" charset="2"/>
                        <a:buNone/>
                      </a:pPr>
                      <a:r>
                        <a:rPr lang="en-US" sz="2000" b="0" kern="1200" dirty="0">
                          <a:ln>
                            <a:solidFill>
                              <a:schemeClr val="bg1">
                                <a:lumMod val="75000"/>
                                <a:lumOff val="25000"/>
                                <a:alpha val="10000"/>
                              </a:schemeClr>
                            </a:solidFill>
                          </a:ln>
                          <a:solidFill>
                            <a:schemeClr val="tx2"/>
                          </a:solidFill>
                          <a:effectLst>
                            <a:outerShdw blurRad="9525" dist="25400" dir="14640000" algn="tl" rotWithShape="0">
                              <a:schemeClr val="bg1">
                                <a:alpha val="30000"/>
                              </a:schemeClr>
                            </a:outerShdw>
                          </a:effectLst>
                          <a:latin typeface="+mn-lt"/>
                          <a:ea typeface="+mn-ea"/>
                          <a:cs typeface="+mn-cs"/>
                        </a:rPr>
                        <a:t>Professor, Philosophy</a:t>
                      </a:r>
                    </a:p>
                    <a:p>
                      <a:endParaRPr lang="en-US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6900" indent="0" algn="l" defTabSz="457200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SzPct val="70000"/>
                        <a:buFont typeface="Wingdings 2" charset="2"/>
                        <a:buNone/>
                      </a:pPr>
                      <a:r>
                        <a:rPr lang="en-US" sz="2400" b="1" kern="1200" dirty="0">
                          <a:ln>
                            <a:solidFill>
                              <a:schemeClr val="bg1">
                                <a:lumMod val="75000"/>
                                <a:lumOff val="25000"/>
                                <a:alpha val="10000"/>
                              </a:schemeClr>
                            </a:solidFill>
                          </a:ln>
                          <a:solidFill>
                            <a:schemeClr val="tx2"/>
                          </a:solidFill>
                          <a:effectLst>
                            <a:outerShdw blurRad="9525" dist="25400" dir="14640000" algn="tl" rotWithShape="0">
                              <a:schemeClr val="bg1">
                                <a:alpha val="30000"/>
                              </a:schemeClr>
                            </a:outerShdw>
                          </a:effectLst>
                          <a:latin typeface="+mn-lt"/>
                          <a:ea typeface="+mn-ea"/>
                          <a:cs typeface="+mn-cs"/>
                        </a:rPr>
                        <a:t>Roslind Young</a:t>
                      </a:r>
                    </a:p>
                    <a:p>
                      <a:pPr marL="36900" indent="0" algn="l" defTabSz="457200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SzPct val="70000"/>
                        <a:buFont typeface="Wingdings 2" charset="2"/>
                        <a:buNone/>
                      </a:pPr>
                      <a:r>
                        <a:rPr lang="en-US" sz="2000" b="0" kern="1200" dirty="0">
                          <a:ln>
                            <a:solidFill>
                              <a:schemeClr val="bg1">
                                <a:lumMod val="75000"/>
                                <a:lumOff val="25000"/>
                                <a:alpha val="10000"/>
                              </a:schemeClr>
                            </a:solidFill>
                          </a:ln>
                          <a:solidFill>
                            <a:schemeClr val="tx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lassified Senate President</a:t>
                      </a:r>
                    </a:p>
                    <a:p>
                      <a:pPr marL="36900" indent="0" algn="l" defTabSz="457200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SzPct val="70000"/>
                        <a:buFont typeface="Wingdings 2" charset="2"/>
                        <a:buNone/>
                      </a:pPr>
                      <a:r>
                        <a:rPr lang="en-US" sz="2000" b="0" kern="1200" dirty="0">
                          <a:ln>
                            <a:solidFill>
                              <a:schemeClr val="bg1">
                                <a:lumMod val="75000"/>
                                <a:lumOff val="25000"/>
                                <a:alpha val="10000"/>
                              </a:schemeClr>
                            </a:solidFill>
                          </a:ln>
                          <a:solidFill>
                            <a:schemeClr val="tx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Lab Technician (Sciences)</a:t>
                      </a:r>
                    </a:p>
                    <a:p>
                      <a:endParaRPr lang="en-US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37806313"/>
                  </a:ext>
                </a:extLst>
              </a:tr>
            </a:tbl>
          </a:graphicData>
        </a:graphic>
      </p:graphicFrame>
      <p:pic>
        <p:nvPicPr>
          <p:cNvPr id="6" name="Picture 2" descr="Thumbnail for Eck, David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87240" y="1842540"/>
            <a:ext cx="2491371" cy="24913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extBox 6"/>
          <p:cNvSpPr txBox="1"/>
          <p:nvPr/>
        </p:nvSpPr>
        <p:spPr>
          <a:xfrm>
            <a:off x="6631806" y="1944306"/>
            <a:ext cx="223306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nsert photo of Roz</a:t>
            </a:r>
          </a:p>
        </p:txBody>
      </p:sp>
      <p:pic>
        <p:nvPicPr>
          <p:cNvPr id="8" name="id-0A728FC4-FDAE-49A6-A161-8402361E4DBE" descr="Image.jpeg">
            <a:extLst>
              <a:ext uri="{FF2B5EF4-FFF2-40B4-BE49-F238E27FC236}">
                <a16:creationId xmlns:a16="http://schemas.microsoft.com/office/drawing/2014/main" id="{420B33EA-42AD-4CD7-922C-05F33970378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392"/>
          <a:stretch/>
        </p:blipFill>
        <p:spPr bwMode="auto">
          <a:xfrm>
            <a:off x="6733212" y="1842540"/>
            <a:ext cx="2492382" cy="24913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BF518A3A-ECE0-42A2-BD7B-43096BD7B6FA}"/>
              </a:ext>
            </a:extLst>
          </p:cNvPr>
          <p:cNvSpPr/>
          <p:nvPr/>
        </p:nvSpPr>
        <p:spPr>
          <a:xfrm>
            <a:off x="366852" y="228614"/>
            <a:ext cx="11458296" cy="1292178"/>
          </a:xfrm>
          <a:prstGeom prst="rect">
            <a:avLst/>
          </a:prstGeom>
          <a:solidFill>
            <a:srgbClr val="006633"/>
          </a:solidFill>
          <a:ln>
            <a:noFill/>
          </a:ln>
          <a:effectLst/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/>
          </a:p>
        </p:txBody>
      </p:sp>
      <p:sp>
        <p:nvSpPr>
          <p:cNvPr id="11" name="Rectangle 9">
            <a:extLst>
              <a:ext uri="{FF2B5EF4-FFF2-40B4-BE49-F238E27FC236}">
                <a16:creationId xmlns:a16="http://schemas.microsoft.com/office/drawing/2014/main" id="{29C5912D-DD36-465B-BD92-BB0220505875}"/>
              </a:ext>
            </a:extLst>
          </p:cNvPr>
          <p:cNvSpPr/>
          <p:nvPr/>
        </p:nvSpPr>
        <p:spPr>
          <a:xfrm rot="10800000" flipH="1">
            <a:off x="366852" y="228613"/>
            <a:ext cx="1788160" cy="1292178"/>
          </a:xfrm>
          <a:custGeom>
            <a:avLst/>
            <a:gdLst>
              <a:gd name="connsiteX0" fmla="*/ 0 w 1995342"/>
              <a:gd name="connsiteY0" fmla="*/ 0 h 690843"/>
              <a:gd name="connsiteX1" fmla="*/ 1995342 w 1995342"/>
              <a:gd name="connsiteY1" fmla="*/ 0 h 690843"/>
              <a:gd name="connsiteX2" fmla="*/ 1995342 w 1995342"/>
              <a:gd name="connsiteY2" fmla="*/ 690843 h 690843"/>
              <a:gd name="connsiteX3" fmla="*/ 0 w 1995342"/>
              <a:gd name="connsiteY3" fmla="*/ 690843 h 690843"/>
              <a:gd name="connsiteX4" fmla="*/ 0 w 1995342"/>
              <a:gd name="connsiteY4" fmla="*/ 0 h 690843"/>
              <a:gd name="connsiteX0" fmla="*/ 0 w 1995342"/>
              <a:gd name="connsiteY0" fmla="*/ 0 h 690843"/>
              <a:gd name="connsiteX1" fmla="*/ 1375630 w 1995342"/>
              <a:gd name="connsiteY1" fmla="*/ 0 h 690843"/>
              <a:gd name="connsiteX2" fmla="*/ 1995342 w 1995342"/>
              <a:gd name="connsiteY2" fmla="*/ 690843 h 690843"/>
              <a:gd name="connsiteX3" fmla="*/ 0 w 1995342"/>
              <a:gd name="connsiteY3" fmla="*/ 690843 h 690843"/>
              <a:gd name="connsiteX4" fmla="*/ 0 w 1995342"/>
              <a:gd name="connsiteY4" fmla="*/ 0 h 690843"/>
              <a:gd name="connsiteX0" fmla="*/ 0 w 1995342"/>
              <a:gd name="connsiteY0" fmla="*/ 0 h 690843"/>
              <a:gd name="connsiteX1" fmla="*/ 1427711 w 1995342"/>
              <a:gd name="connsiteY1" fmla="*/ 53873 h 690843"/>
              <a:gd name="connsiteX2" fmla="*/ 1995342 w 1995342"/>
              <a:gd name="connsiteY2" fmla="*/ 690843 h 690843"/>
              <a:gd name="connsiteX3" fmla="*/ 0 w 1995342"/>
              <a:gd name="connsiteY3" fmla="*/ 690843 h 690843"/>
              <a:gd name="connsiteX4" fmla="*/ 0 w 1995342"/>
              <a:gd name="connsiteY4" fmla="*/ 0 h 690843"/>
              <a:gd name="connsiteX0" fmla="*/ 26571 w 1995342"/>
              <a:gd name="connsiteY0" fmla="*/ 15898 h 636970"/>
              <a:gd name="connsiteX1" fmla="*/ 1427711 w 1995342"/>
              <a:gd name="connsiteY1" fmla="*/ 0 h 636970"/>
              <a:gd name="connsiteX2" fmla="*/ 1995342 w 1995342"/>
              <a:gd name="connsiteY2" fmla="*/ 636970 h 636970"/>
              <a:gd name="connsiteX3" fmla="*/ 0 w 1995342"/>
              <a:gd name="connsiteY3" fmla="*/ 636970 h 636970"/>
              <a:gd name="connsiteX4" fmla="*/ 26571 w 1995342"/>
              <a:gd name="connsiteY4" fmla="*/ 15898 h 636970"/>
              <a:gd name="connsiteX0" fmla="*/ 0 w 1995342"/>
              <a:gd name="connsiteY0" fmla="*/ 0 h 640502"/>
              <a:gd name="connsiteX1" fmla="*/ 1427711 w 1995342"/>
              <a:gd name="connsiteY1" fmla="*/ 3532 h 640502"/>
              <a:gd name="connsiteX2" fmla="*/ 1995342 w 1995342"/>
              <a:gd name="connsiteY2" fmla="*/ 640502 h 640502"/>
              <a:gd name="connsiteX3" fmla="*/ 0 w 1995342"/>
              <a:gd name="connsiteY3" fmla="*/ 640502 h 640502"/>
              <a:gd name="connsiteX4" fmla="*/ 0 w 1995342"/>
              <a:gd name="connsiteY4" fmla="*/ 0 h 640502"/>
              <a:gd name="connsiteX0" fmla="*/ 0 w 1995342"/>
              <a:gd name="connsiteY0" fmla="*/ 0 h 640502"/>
              <a:gd name="connsiteX1" fmla="*/ 1420271 w 1995342"/>
              <a:gd name="connsiteY1" fmla="*/ 1765 h 640502"/>
              <a:gd name="connsiteX2" fmla="*/ 1995342 w 1995342"/>
              <a:gd name="connsiteY2" fmla="*/ 640502 h 640502"/>
              <a:gd name="connsiteX3" fmla="*/ 0 w 1995342"/>
              <a:gd name="connsiteY3" fmla="*/ 640502 h 640502"/>
              <a:gd name="connsiteX4" fmla="*/ 0 w 1995342"/>
              <a:gd name="connsiteY4" fmla="*/ 0 h 640502"/>
              <a:gd name="connsiteX0" fmla="*/ 0 w 1995342"/>
              <a:gd name="connsiteY0" fmla="*/ 0 h 640502"/>
              <a:gd name="connsiteX1" fmla="*/ 1439402 w 1995342"/>
              <a:gd name="connsiteY1" fmla="*/ 3532 h 640502"/>
              <a:gd name="connsiteX2" fmla="*/ 1995342 w 1995342"/>
              <a:gd name="connsiteY2" fmla="*/ 640502 h 640502"/>
              <a:gd name="connsiteX3" fmla="*/ 0 w 1995342"/>
              <a:gd name="connsiteY3" fmla="*/ 640502 h 640502"/>
              <a:gd name="connsiteX4" fmla="*/ 0 w 1995342"/>
              <a:gd name="connsiteY4" fmla="*/ 0 h 640502"/>
              <a:gd name="connsiteX0" fmla="*/ 0 w 1995342"/>
              <a:gd name="connsiteY0" fmla="*/ 0 h 640502"/>
              <a:gd name="connsiteX1" fmla="*/ 1441528 w 1995342"/>
              <a:gd name="connsiteY1" fmla="*/ 1765 h 640502"/>
              <a:gd name="connsiteX2" fmla="*/ 1995342 w 1995342"/>
              <a:gd name="connsiteY2" fmla="*/ 640502 h 640502"/>
              <a:gd name="connsiteX3" fmla="*/ 0 w 1995342"/>
              <a:gd name="connsiteY3" fmla="*/ 640502 h 640502"/>
              <a:gd name="connsiteX4" fmla="*/ 0 w 1995342"/>
              <a:gd name="connsiteY4" fmla="*/ 0 h 640502"/>
              <a:gd name="connsiteX0" fmla="*/ 0 w 1995342"/>
              <a:gd name="connsiteY0" fmla="*/ 0 h 640502"/>
              <a:gd name="connsiteX1" fmla="*/ 1442591 w 1995342"/>
              <a:gd name="connsiteY1" fmla="*/ 882 h 640502"/>
              <a:gd name="connsiteX2" fmla="*/ 1995342 w 1995342"/>
              <a:gd name="connsiteY2" fmla="*/ 640502 h 640502"/>
              <a:gd name="connsiteX3" fmla="*/ 0 w 1995342"/>
              <a:gd name="connsiteY3" fmla="*/ 640502 h 640502"/>
              <a:gd name="connsiteX4" fmla="*/ 0 w 1995342"/>
              <a:gd name="connsiteY4" fmla="*/ 0 h 6405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95342" h="640502">
                <a:moveTo>
                  <a:pt x="0" y="0"/>
                </a:moveTo>
                <a:lnTo>
                  <a:pt x="1442591" y="882"/>
                </a:lnTo>
                <a:lnTo>
                  <a:pt x="1995342" y="640502"/>
                </a:lnTo>
                <a:lnTo>
                  <a:pt x="0" y="640502"/>
                </a:lnTo>
                <a:lnTo>
                  <a:pt x="0" y="0"/>
                </a:lnTo>
                <a:close/>
              </a:path>
            </a:pathLst>
          </a:custGeom>
          <a:ln>
            <a:noFill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sz="1100" dirty="0"/>
          </a:p>
        </p:txBody>
      </p:sp>
      <p:sp>
        <p:nvSpPr>
          <p:cNvPr id="10" name="Title 1"/>
          <p:cNvSpPr txBox="1">
            <a:spLocks/>
          </p:cNvSpPr>
          <p:nvPr/>
        </p:nvSpPr>
        <p:spPr>
          <a:xfrm>
            <a:off x="733704" y="323024"/>
            <a:ext cx="10515600" cy="1091890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sz="3600" b="1" dirty="0" smtClean="0">
                <a:solidFill>
                  <a:schemeClr val="bg1"/>
                </a:solidFill>
                <a:effectLst>
                  <a:outerShdw blurRad="50800" dist="50800" dir="5400000" algn="ctr" rotWithShape="0">
                    <a:srgbClr val="000000">
                      <a:alpha val="43137"/>
                    </a:srgbClr>
                  </a:outerShdw>
                </a:effectLst>
                <a:latin typeface="Franklin Gothic Book" panose="020B0503020102020204" pitchFamily="34" charset="0"/>
              </a:rPr>
              <a:t>Academic &amp; Classified Senate Presidents Welcome</a:t>
            </a:r>
          </a:p>
          <a:p>
            <a:pPr algn="ctr"/>
            <a:r>
              <a:rPr lang="en-US" sz="3600" b="1" dirty="0" smtClean="0">
                <a:solidFill>
                  <a:schemeClr val="bg1"/>
                </a:solidFill>
                <a:effectLst>
                  <a:outerShdw blurRad="50800" dist="50800" dir="5400000" algn="ctr" rotWithShape="0">
                    <a:srgbClr val="000000">
                      <a:alpha val="43137"/>
                    </a:srgbClr>
                  </a:outerShdw>
                </a:effectLst>
                <a:latin typeface="Franklin Gothic Book" panose="020B0503020102020204" pitchFamily="34" charset="0"/>
              </a:rPr>
              <a:t>&amp; 2020-21 Highlights and Progress</a:t>
            </a:r>
            <a:endParaRPr lang="en-US" sz="3600" b="1" dirty="0">
              <a:solidFill>
                <a:schemeClr val="bg1"/>
              </a:solidFill>
              <a:effectLst>
                <a:outerShdw blurRad="50800" dist="50800" dir="5400000" algn="ctr" rotWithShape="0">
                  <a:srgbClr val="000000">
                    <a:alpha val="43137"/>
                  </a:srgbClr>
                </a:outerShdw>
              </a:effectLst>
              <a:latin typeface="Franklin Gothic Book" panose="020B05030201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64158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Chart 3"/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3360763"/>
              </p:ext>
            </p:extLst>
          </p:nvPr>
        </p:nvGraphicFramePr>
        <p:xfrm>
          <a:off x="838200" y="1468494"/>
          <a:ext cx="10515600" cy="509593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5" name="TextBox 4"/>
          <p:cNvSpPr txBox="1"/>
          <p:nvPr/>
        </p:nvSpPr>
        <p:spPr>
          <a:xfrm>
            <a:off x="299321" y="6410921"/>
            <a:ext cx="1189267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ote:  The number of degree and certificate awards for 2020-21 are not yet final.  Some award petitions are still under review.  Therefore the number of graduates may still change slightly.  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BF518A3A-ECE0-42A2-BD7B-43096BD7B6FA}"/>
              </a:ext>
            </a:extLst>
          </p:cNvPr>
          <p:cNvSpPr/>
          <p:nvPr/>
        </p:nvSpPr>
        <p:spPr>
          <a:xfrm>
            <a:off x="366852" y="228614"/>
            <a:ext cx="11458296" cy="690843"/>
          </a:xfrm>
          <a:prstGeom prst="rect">
            <a:avLst/>
          </a:prstGeom>
          <a:solidFill>
            <a:srgbClr val="006633"/>
          </a:solidFill>
          <a:ln>
            <a:noFill/>
          </a:ln>
          <a:effectLst/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/>
          </a:p>
        </p:txBody>
      </p:sp>
      <p:sp>
        <p:nvSpPr>
          <p:cNvPr id="7" name="Title 1"/>
          <p:cNvSpPr txBox="1">
            <a:spLocks/>
          </p:cNvSpPr>
          <p:nvPr/>
        </p:nvSpPr>
        <p:spPr>
          <a:xfrm>
            <a:off x="733704" y="323024"/>
            <a:ext cx="10515600" cy="528108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0000"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sz="3600" b="1" dirty="0" smtClean="0">
                <a:solidFill>
                  <a:schemeClr val="bg1"/>
                </a:solidFill>
                <a:effectLst>
                  <a:outerShdw blurRad="50800" dist="50800" dir="5400000" algn="ctr" rotWithShape="0">
                    <a:srgbClr val="000000">
                      <a:alpha val="43137"/>
                    </a:srgbClr>
                  </a:outerShdw>
                </a:effectLst>
                <a:latin typeface="Franklin Gothic Book" panose="020B0503020102020204" pitchFamily="34" charset="0"/>
              </a:rPr>
              <a:t>Total Graduates: </a:t>
            </a:r>
            <a:r>
              <a:rPr lang="en-US" sz="3600" b="1" dirty="0">
                <a:solidFill>
                  <a:schemeClr val="bg1"/>
                </a:solidFill>
                <a:effectLst>
                  <a:outerShdw blurRad="50800" dist="50800" dir="5400000" algn="ctr" rotWithShape="0">
                    <a:srgbClr val="000000">
                      <a:alpha val="43137"/>
                    </a:srgbClr>
                  </a:outerShdw>
                </a:effectLst>
                <a:latin typeface="Franklin Gothic Book" panose="020B0503020102020204" pitchFamily="34" charset="0"/>
              </a:rPr>
              <a:t>2020 &amp; 2021 </a:t>
            </a:r>
          </a:p>
        </p:txBody>
      </p:sp>
      <p:sp>
        <p:nvSpPr>
          <p:cNvPr id="8" name="Rectangle 9">
            <a:extLst>
              <a:ext uri="{FF2B5EF4-FFF2-40B4-BE49-F238E27FC236}">
                <a16:creationId xmlns:a16="http://schemas.microsoft.com/office/drawing/2014/main" id="{29C5912D-DD36-465B-BD92-BB0220505875}"/>
              </a:ext>
            </a:extLst>
          </p:cNvPr>
          <p:cNvSpPr/>
          <p:nvPr/>
        </p:nvSpPr>
        <p:spPr>
          <a:xfrm rot="10800000" flipH="1">
            <a:off x="366852" y="228614"/>
            <a:ext cx="1788160" cy="690775"/>
          </a:xfrm>
          <a:custGeom>
            <a:avLst/>
            <a:gdLst>
              <a:gd name="connsiteX0" fmla="*/ 0 w 1995342"/>
              <a:gd name="connsiteY0" fmla="*/ 0 h 690843"/>
              <a:gd name="connsiteX1" fmla="*/ 1995342 w 1995342"/>
              <a:gd name="connsiteY1" fmla="*/ 0 h 690843"/>
              <a:gd name="connsiteX2" fmla="*/ 1995342 w 1995342"/>
              <a:gd name="connsiteY2" fmla="*/ 690843 h 690843"/>
              <a:gd name="connsiteX3" fmla="*/ 0 w 1995342"/>
              <a:gd name="connsiteY3" fmla="*/ 690843 h 690843"/>
              <a:gd name="connsiteX4" fmla="*/ 0 w 1995342"/>
              <a:gd name="connsiteY4" fmla="*/ 0 h 690843"/>
              <a:gd name="connsiteX0" fmla="*/ 0 w 1995342"/>
              <a:gd name="connsiteY0" fmla="*/ 0 h 690843"/>
              <a:gd name="connsiteX1" fmla="*/ 1375630 w 1995342"/>
              <a:gd name="connsiteY1" fmla="*/ 0 h 690843"/>
              <a:gd name="connsiteX2" fmla="*/ 1995342 w 1995342"/>
              <a:gd name="connsiteY2" fmla="*/ 690843 h 690843"/>
              <a:gd name="connsiteX3" fmla="*/ 0 w 1995342"/>
              <a:gd name="connsiteY3" fmla="*/ 690843 h 690843"/>
              <a:gd name="connsiteX4" fmla="*/ 0 w 1995342"/>
              <a:gd name="connsiteY4" fmla="*/ 0 h 690843"/>
              <a:gd name="connsiteX0" fmla="*/ 0 w 1995342"/>
              <a:gd name="connsiteY0" fmla="*/ 0 h 690843"/>
              <a:gd name="connsiteX1" fmla="*/ 1427711 w 1995342"/>
              <a:gd name="connsiteY1" fmla="*/ 53873 h 690843"/>
              <a:gd name="connsiteX2" fmla="*/ 1995342 w 1995342"/>
              <a:gd name="connsiteY2" fmla="*/ 690843 h 690843"/>
              <a:gd name="connsiteX3" fmla="*/ 0 w 1995342"/>
              <a:gd name="connsiteY3" fmla="*/ 690843 h 690843"/>
              <a:gd name="connsiteX4" fmla="*/ 0 w 1995342"/>
              <a:gd name="connsiteY4" fmla="*/ 0 h 690843"/>
              <a:gd name="connsiteX0" fmla="*/ 26571 w 1995342"/>
              <a:gd name="connsiteY0" fmla="*/ 15898 h 636970"/>
              <a:gd name="connsiteX1" fmla="*/ 1427711 w 1995342"/>
              <a:gd name="connsiteY1" fmla="*/ 0 h 636970"/>
              <a:gd name="connsiteX2" fmla="*/ 1995342 w 1995342"/>
              <a:gd name="connsiteY2" fmla="*/ 636970 h 636970"/>
              <a:gd name="connsiteX3" fmla="*/ 0 w 1995342"/>
              <a:gd name="connsiteY3" fmla="*/ 636970 h 636970"/>
              <a:gd name="connsiteX4" fmla="*/ 26571 w 1995342"/>
              <a:gd name="connsiteY4" fmla="*/ 15898 h 636970"/>
              <a:gd name="connsiteX0" fmla="*/ 0 w 1995342"/>
              <a:gd name="connsiteY0" fmla="*/ 0 h 640502"/>
              <a:gd name="connsiteX1" fmla="*/ 1427711 w 1995342"/>
              <a:gd name="connsiteY1" fmla="*/ 3532 h 640502"/>
              <a:gd name="connsiteX2" fmla="*/ 1995342 w 1995342"/>
              <a:gd name="connsiteY2" fmla="*/ 640502 h 640502"/>
              <a:gd name="connsiteX3" fmla="*/ 0 w 1995342"/>
              <a:gd name="connsiteY3" fmla="*/ 640502 h 640502"/>
              <a:gd name="connsiteX4" fmla="*/ 0 w 1995342"/>
              <a:gd name="connsiteY4" fmla="*/ 0 h 640502"/>
              <a:gd name="connsiteX0" fmla="*/ 0 w 1995342"/>
              <a:gd name="connsiteY0" fmla="*/ 0 h 640502"/>
              <a:gd name="connsiteX1" fmla="*/ 1420271 w 1995342"/>
              <a:gd name="connsiteY1" fmla="*/ 1765 h 640502"/>
              <a:gd name="connsiteX2" fmla="*/ 1995342 w 1995342"/>
              <a:gd name="connsiteY2" fmla="*/ 640502 h 640502"/>
              <a:gd name="connsiteX3" fmla="*/ 0 w 1995342"/>
              <a:gd name="connsiteY3" fmla="*/ 640502 h 640502"/>
              <a:gd name="connsiteX4" fmla="*/ 0 w 1995342"/>
              <a:gd name="connsiteY4" fmla="*/ 0 h 640502"/>
              <a:gd name="connsiteX0" fmla="*/ 0 w 1995342"/>
              <a:gd name="connsiteY0" fmla="*/ 0 h 640502"/>
              <a:gd name="connsiteX1" fmla="*/ 1439402 w 1995342"/>
              <a:gd name="connsiteY1" fmla="*/ 3532 h 640502"/>
              <a:gd name="connsiteX2" fmla="*/ 1995342 w 1995342"/>
              <a:gd name="connsiteY2" fmla="*/ 640502 h 640502"/>
              <a:gd name="connsiteX3" fmla="*/ 0 w 1995342"/>
              <a:gd name="connsiteY3" fmla="*/ 640502 h 640502"/>
              <a:gd name="connsiteX4" fmla="*/ 0 w 1995342"/>
              <a:gd name="connsiteY4" fmla="*/ 0 h 640502"/>
              <a:gd name="connsiteX0" fmla="*/ 0 w 1995342"/>
              <a:gd name="connsiteY0" fmla="*/ 0 h 640502"/>
              <a:gd name="connsiteX1" fmla="*/ 1441528 w 1995342"/>
              <a:gd name="connsiteY1" fmla="*/ 1765 h 640502"/>
              <a:gd name="connsiteX2" fmla="*/ 1995342 w 1995342"/>
              <a:gd name="connsiteY2" fmla="*/ 640502 h 640502"/>
              <a:gd name="connsiteX3" fmla="*/ 0 w 1995342"/>
              <a:gd name="connsiteY3" fmla="*/ 640502 h 640502"/>
              <a:gd name="connsiteX4" fmla="*/ 0 w 1995342"/>
              <a:gd name="connsiteY4" fmla="*/ 0 h 640502"/>
              <a:gd name="connsiteX0" fmla="*/ 0 w 1995342"/>
              <a:gd name="connsiteY0" fmla="*/ 0 h 640502"/>
              <a:gd name="connsiteX1" fmla="*/ 1442591 w 1995342"/>
              <a:gd name="connsiteY1" fmla="*/ 882 h 640502"/>
              <a:gd name="connsiteX2" fmla="*/ 1995342 w 1995342"/>
              <a:gd name="connsiteY2" fmla="*/ 640502 h 640502"/>
              <a:gd name="connsiteX3" fmla="*/ 0 w 1995342"/>
              <a:gd name="connsiteY3" fmla="*/ 640502 h 640502"/>
              <a:gd name="connsiteX4" fmla="*/ 0 w 1995342"/>
              <a:gd name="connsiteY4" fmla="*/ 0 h 6405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95342" h="640502">
                <a:moveTo>
                  <a:pt x="0" y="0"/>
                </a:moveTo>
                <a:lnTo>
                  <a:pt x="1442591" y="882"/>
                </a:lnTo>
                <a:lnTo>
                  <a:pt x="1995342" y="640502"/>
                </a:lnTo>
                <a:lnTo>
                  <a:pt x="0" y="640502"/>
                </a:lnTo>
                <a:lnTo>
                  <a:pt x="0" y="0"/>
                </a:lnTo>
                <a:close/>
              </a:path>
            </a:pathLst>
          </a:custGeom>
          <a:ln>
            <a:noFill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sz="1100" dirty="0"/>
          </a:p>
        </p:txBody>
      </p:sp>
    </p:spTree>
    <p:extLst>
      <p:ext uri="{BB962C8B-B14F-4D97-AF65-F5344CB8AC3E}">
        <p14:creationId xmlns:p14="http://schemas.microsoft.com/office/powerpoint/2010/main" val="3223178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07693" y="1228774"/>
            <a:ext cx="4588371" cy="970450"/>
          </a:xfrm>
        </p:spPr>
        <p:txBody>
          <a:bodyPr>
            <a:normAutofit/>
          </a:bodyPr>
          <a:lstStyle/>
          <a:p>
            <a:pPr algn="ctr"/>
            <a:r>
              <a:rPr lang="en-US" sz="3200" dirty="0" smtClean="0"/>
              <a:t>Degree Awards</a:t>
            </a:r>
            <a:endParaRPr lang="en-US" sz="3200" dirty="0"/>
          </a:p>
        </p:txBody>
      </p:sp>
      <p:graphicFrame>
        <p:nvGraphicFramePr>
          <p:cNvPr id="3" name="Chart 2"/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61595383"/>
              </p:ext>
            </p:extLst>
          </p:nvPr>
        </p:nvGraphicFramePr>
        <p:xfrm>
          <a:off x="646386" y="2199291"/>
          <a:ext cx="5060731" cy="39256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5" name="Chart 4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87317447"/>
              </p:ext>
            </p:extLst>
          </p:nvPr>
        </p:nvGraphicFramePr>
        <p:xfrm>
          <a:off x="6174827" y="2188398"/>
          <a:ext cx="5381296" cy="394739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6" name="Title 1"/>
          <p:cNvSpPr txBox="1">
            <a:spLocks/>
          </p:cNvSpPr>
          <p:nvPr/>
        </p:nvSpPr>
        <p:spPr>
          <a:xfrm>
            <a:off x="6571289" y="1228774"/>
            <a:ext cx="4588371" cy="970450"/>
          </a:xfrm>
          <a:prstGeom prst="rect">
            <a:avLst/>
          </a:prstGeom>
          <a:effectLst>
            <a:outerShdw blurRad="25400" dir="17880000">
              <a:srgbClr val="000000">
                <a:alpha val="46000"/>
              </a:srgbClr>
            </a:outerShdw>
          </a:effectLst>
        </p:spPr>
        <p:txBody>
          <a:bodyPr vert="horz" lIns="91440" tIns="45720" rIns="91440" bIns="45720" rtlCol="0" anchor="ctr">
            <a:normAutofit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000" kern="1200">
                <a:ln>
                  <a:solidFill>
                    <a:schemeClr val="bg1">
                      <a:lumMod val="75000"/>
                      <a:lumOff val="25000"/>
                      <a:alpha val="10000"/>
                    </a:schemeClr>
                  </a:solidFill>
                </a:ln>
                <a:solidFill>
                  <a:schemeClr val="tx2"/>
                </a:solidFill>
                <a:effectLst>
                  <a:outerShdw blurRad="9525" dist="25400" dir="14640000" algn="tl" rotWithShape="0">
                    <a:schemeClr val="bg1">
                      <a:alpha val="30000"/>
                    </a:schemeClr>
                  </a:outerShdw>
                </a:effectLst>
                <a:latin typeface="+mj-lt"/>
                <a:ea typeface="+mj-ea"/>
                <a:cs typeface="Trebuchet M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3200" dirty="0">
                <a:solidFill>
                  <a:schemeClr val="tx1"/>
                </a:solidFill>
                <a:cs typeface="+mj-cs"/>
              </a:rPr>
              <a:t>Certificate Awards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F518A3A-ECE0-42A2-BD7B-43096BD7B6FA}"/>
              </a:ext>
            </a:extLst>
          </p:cNvPr>
          <p:cNvSpPr/>
          <p:nvPr/>
        </p:nvSpPr>
        <p:spPr>
          <a:xfrm>
            <a:off x="366852" y="228614"/>
            <a:ext cx="11458296" cy="690843"/>
          </a:xfrm>
          <a:prstGeom prst="rect">
            <a:avLst/>
          </a:prstGeom>
          <a:solidFill>
            <a:srgbClr val="006633"/>
          </a:solidFill>
          <a:ln>
            <a:noFill/>
          </a:ln>
          <a:effectLst/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/>
          </a:p>
        </p:txBody>
      </p:sp>
      <p:sp>
        <p:nvSpPr>
          <p:cNvPr id="8" name="Title 1"/>
          <p:cNvSpPr txBox="1">
            <a:spLocks/>
          </p:cNvSpPr>
          <p:nvPr/>
        </p:nvSpPr>
        <p:spPr>
          <a:xfrm>
            <a:off x="733704" y="323024"/>
            <a:ext cx="10515600" cy="528108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0000"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sz="3600" b="1" dirty="0" smtClean="0">
                <a:solidFill>
                  <a:schemeClr val="bg1"/>
                </a:solidFill>
                <a:effectLst>
                  <a:outerShdw blurRad="50800" dist="50800" dir="5400000" algn="ctr" rotWithShape="0">
                    <a:srgbClr val="000000">
                      <a:alpha val="43137"/>
                    </a:srgbClr>
                  </a:outerShdw>
                </a:effectLst>
                <a:latin typeface="Franklin Gothic Book" panose="020B0503020102020204" pitchFamily="34" charset="0"/>
              </a:rPr>
              <a:t>Degree and Certificate Awards: </a:t>
            </a:r>
            <a:r>
              <a:rPr lang="en-US" sz="3600" b="1" dirty="0">
                <a:solidFill>
                  <a:schemeClr val="bg1"/>
                </a:solidFill>
                <a:effectLst>
                  <a:outerShdw blurRad="50800" dist="50800" dir="5400000" algn="ctr" rotWithShape="0">
                    <a:srgbClr val="000000">
                      <a:alpha val="43137"/>
                    </a:srgbClr>
                  </a:outerShdw>
                </a:effectLst>
                <a:latin typeface="Franklin Gothic Book" panose="020B0503020102020204" pitchFamily="34" charset="0"/>
              </a:rPr>
              <a:t>2020 &amp; 2021 </a:t>
            </a:r>
          </a:p>
        </p:txBody>
      </p:sp>
      <p:sp>
        <p:nvSpPr>
          <p:cNvPr id="9" name="Rectangle 9">
            <a:extLst>
              <a:ext uri="{FF2B5EF4-FFF2-40B4-BE49-F238E27FC236}">
                <a16:creationId xmlns:a16="http://schemas.microsoft.com/office/drawing/2014/main" id="{29C5912D-DD36-465B-BD92-BB0220505875}"/>
              </a:ext>
            </a:extLst>
          </p:cNvPr>
          <p:cNvSpPr/>
          <p:nvPr/>
        </p:nvSpPr>
        <p:spPr>
          <a:xfrm rot="10800000" flipH="1">
            <a:off x="366852" y="228614"/>
            <a:ext cx="1788160" cy="690775"/>
          </a:xfrm>
          <a:custGeom>
            <a:avLst/>
            <a:gdLst>
              <a:gd name="connsiteX0" fmla="*/ 0 w 1995342"/>
              <a:gd name="connsiteY0" fmla="*/ 0 h 690843"/>
              <a:gd name="connsiteX1" fmla="*/ 1995342 w 1995342"/>
              <a:gd name="connsiteY1" fmla="*/ 0 h 690843"/>
              <a:gd name="connsiteX2" fmla="*/ 1995342 w 1995342"/>
              <a:gd name="connsiteY2" fmla="*/ 690843 h 690843"/>
              <a:gd name="connsiteX3" fmla="*/ 0 w 1995342"/>
              <a:gd name="connsiteY3" fmla="*/ 690843 h 690843"/>
              <a:gd name="connsiteX4" fmla="*/ 0 w 1995342"/>
              <a:gd name="connsiteY4" fmla="*/ 0 h 690843"/>
              <a:gd name="connsiteX0" fmla="*/ 0 w 1995342"/>
              <a:gd name="connsiteY0" fmla="*/ 0 h 690843"/>
              <a:gd name="connsiteX1" fmla="*/ 1375630 w 1995342"/>
              <a:gd name="connsiteY1" fmla="*/ 0 h 690843"/>
              <a:gd name="connsiteX2" fmla="*/ 1995342 w 1995342"/>
              <a:gd name="connsiteY2" fmla="*/ 690843 h 690843"/>
              <a:gd name="connsiteX3" fmla="*/ 0 w 1995342"/>
              <a:gd name="connsiteY3" fmla="*/ 690843 h 690843"/>
              <a:gd name="connsiteX4" fmla="*/ 0 w 1995342"/>
              <a:gd name="connsiteY4" fmla="*/ 0 h 690843"/>
              <a:gd name="connsiteX0" fmla="*/ 0 w 1995342"/>
              <a:gd name="connsiteY0" fmla="*/ 0 h 690843"/>
              <a:gd name="connsiteX1" fmla="*/ 1427711 w 1995342"/>
              <a:gd name="connsiteY1" fmla="*/ 53873 h 690843"/>
              <a:gd name="connsiteX2" fmla="*/ 1995342 w 1995342"/>
              <a:gd name="connsiteY2" fmla="*/ 690843 h 690843"/>
              <a:gd name="connsiteX3" fmla="*/ 0 w 1995342"/>
              <a:gd name="connsiteY3" fmla="*/ 690843 h 690843"/>
              <a:gd name="connsiteX4" fmla="*/ 0 w 1995342"/>
              <a:gd name="connsiteY4" fmla="*/ 0 h 690843"/>
              <a:gd name="connsiteX0" fmla="*/ 26571 w 1995342"/>
              <a:gd name="connsiteY0" fmla="*/ 15898 h 636970"/>
              <a:gd name="connsiteX1" fmla="*/ 1427711 w 1995342"/>
              <a:gd name="connsiteY1" fmla="*/ 0 h 636970"/>
              <a:gd name="connsiteX2" fmla="*/ 1995342 w 1995342"/>
              <a:gd name="connsiteY2" fmla="*/ 636970 h 636970"/>
              <a:gd name="connsiteX3" fmla="*/ 0 w 1995342"/>
              <a:gd name="connsiteY3" fmla="*/ 636970 h 636970"/>
              <a:gd name="connsiteX4" fmla="*/ 26571 w 1995342"/>
              <a:gd name="connsiteY4" fmla="*/ 15898 h 636970"/>
              <a:gd name="connsiteX0" fmla="*/ 0 w 1995342"/>
              <a:gd name="connsiteY0" fmla="*/ 0 h 640502"/>
              <a:gd name="connsiteX1" fmla="*/ 1427711 w 1995342"/>
              <a:gd name="connsiteY1" fmla="*/ 3532 h 640502"/>
              <a:gd name="connsiteX2" fmla="*/ 1995342 w 1995342"/>
              <a:gd name="connsiteY2" fmla="*/ 640502 h 640502"/>
              <a:gd name="connsiteX3" fmla="*/ 0 w 1995342"/>
              <a:gd name="connsiteY3" fmla="*/ 640502 h 640502"/>
              <a:gd name="connsiteX4" fmla="*/ 0 w 1995342"/>
              <a:gd name="connsiteY4" fmla="*/ 0 h 640502"/>
              <a:gd name="connsiteX0" fmla="*/ 0 w 1995342"/>
              <a:gd name="connsiteY0" fmla="*/ 0 h 640502"/>
              <a:gd name="connsiteX1" fmla="*/ 1420271 w 1995342"/>
              <a:gd name="connsiteY1" fmla="*/ 1765 h 640502"/>
              <a:gd name="connsiteX2" fmla="*/ 1995342 w 1995342"/>
              <a:gd name="connsiteY2" fmla="*/ 640502 h 640502"/>
              <a:gd name="connsiteX3" fmla="*/ 0 w 1995342"/>
              <a:gd name="connsiteY3" fmla="*/ 640502 h 640502"/>
              <a:gd name="connsiteX4" fmla="*/ 0 w 1995342"/>
              <a:gd name="connsiteY4" fmla="*/ 0 h 640502"/>
              <a:gd name="connsiteX0" fmla="*/ 0 w 1995342"/>
              <a:gd name="connsiteY0" fmla="*/ 0 h 640502"/>
              <a:gd name="connsiteX1" fmla="*/ 1439402 w 1995342"/>
              <a:gd name="connsiteY1" fmla="*/ 3532 h 640502"/>
              <a:gd name="connsiteX2" fmla="*/ 1995342 w 1995342"/>
              <a:gd name="connsiteY2" fmla="*/ 640502 h 640502"/>
              <a:gd name="connsiteX3" fmla="*/ 0 w 1995342"/>
              <a:gd name="connsiteY3" fmla="*/ 640502 h 640502"/>
              <a:gd name="connsiteX4" fmla="*/ 0 w 1995342"/>
              <a:gd name="connsiteY4" fmla="*/ 0 h 640502"/>
              <a:gd name="connsiteX0" fmla="*/ 0 w 1995342"/>
              <a:gd name="connsiteY0" fmla="*/ 0 h 640502"/>
              <a:gd name="connsiteX1" fmla="*/ 1441528 w 1995342"/>
              <a:gd name="connsiteY1" fmla="*/ 1765 h 640502"/>
              <a:gd name="connsiteX2" fmla="*/ 1995342 w 1995342"/>
              <a:gd name="connsiteY2" fmla="*/ 640502 h 640502"/>
              <a:gd name="connsiteX3" fmla="*/ 0 w 1995342"/>
              <a:gd name="connsiteY3" fmla="*/ 640502 h 640502"/>
              <a:gd name="connsiteX4" fmla="*/ 0 w 1995342"/>
              <a:gd name="connsiteY4" fmla="*/ 0 h 640502"/>
              <a:gd name="connsiteX0" fmla="*/ 0 w 1995342"/>
              <a:gd name="connsiteY0" fmla="*/ 0 h 640502"/>
              <a:gd name="connsiteX1" fmla="*/ 1442591 w 1995342"/>
              <a:gd name="connsiteY1" fmla="*/ 882 h 640502"/>
              <a:gd name="connsiteX2" fmla="*/ 1995342 w 1995342"/>
              <a:gd name="connsiteY2" fmla="*/ 640502 h 640502"/>
              <a:gd name="connsiteX3" fmla="*/ 0 w 1995342"/>
              <a:gd name="connsiteY3" fmla="*/ 640502 h 640502"/>
              <a:gd name="connsiteX4" fmla="*/ 0 w 1995342"/>
              <a:gd name="connsiteY4" fmla="*/ 0 h 6405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95342" h="640502">
                <a:moveTo>
                  <a:pt x="0" y="0"/>
                </a:moveTo>
                <a:lnTo>
                  <a:pt x="1442591" y="882"/>
                </a:lnTo>
                <a:lnTo>
                  <a:pt x="1995342" y="640502"/>
                </a:lnTo>
                <a:lnTo>
                  <a:pt x="0" y="640502"/>
                </a:lnTo>
                <a:lnTo>
                  <a:pt x="0" y="0"/>
                </a:lnTo>
                <a:close/>
              </a:path>
            </a:pathLst>
          </a:custGeom>
          <a:ln>
            <a:noFill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sz="1100" dirty="0"/>
          </a:p>
        </p:txBody>
      </p:sp>
    </p:spTree>
    <p:extLst>
      <p:ext uri="{BB962C8B-B14F-4D97-AF65-F5344CB8AC3E}">
        <p14:creationId xmlns:p14="http://schemas.microsoft.com/office/powerpoint/2010/main" val="904892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9056361"/>
              </p:ext>
            </p:extLst>
          </p:nvPr>
        </p:nvGraphicFramePr>
        <p:xfrm>
          <a:off x="-1" y="-1"/>
          <a:ext cx="12192002" cy="6857997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3397719">
                  <a:extLst>
                    <a:ext uri="{9D8B030D-6E8A-4147-A177-3AD203B41FA5}">
                      <a16:colId xmlns:a16="http://schemas.microsoft.com/office/drawing/2014/main" val="1999275627"/>
                    </a:ext>
                  </a:extLst>
                </a:gridCol>
                <a:gridCol w="2358189">
                  <a:extLst>
                    <a:ext uri="{9D8B030D-6E8A-4147-A177-3AD203B41FA5}">
                      <a16:colId xmlns:a16="http://schemas.microsoft.com/office/drawing/2014/main" val="1565600660"/>
                    </a:ext>
                  </a:extLst>
                </a:gridCol>
                <a:gridCol w="6436094">
                  <a:extLst>
                    <a:ext uri="{9D8B030D-6E8A-4147-A177-3AD203B41FA5}">
                      <a16:colId xmlns:a16="http://schemas.microsoft.com/office/drawing/2014/main" val="2762839572"/>
                    </a:ext>
                  </a:extLst>
                </a:gridCol>
              </a:tblGrid>
              <a:tr h="994761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8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2020-21</a:t>
                      </a:r>
                      <a:r>
                        <a:rPr lang="en-US" sz="2800" b="1" i="0" u="none" strike="noStrike" baseline="0" dirty="0" smtClean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 Priority </a:t>
                      </a:r>
                    </a:p>
                  </a:txBody>
                  <a:tcPr marL="6350" marR="6350" marT="6350" marB="0" anchor="ctr">
                    <a:solidFill>
                      <a:srgbClr val="00634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8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Status</a:t>
                      </a:r>
                      <a:endParaRPr lang="en-US" sz="28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solidFill>
                      <a:srgbClr val="00634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8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Highlighted Accomplishments</a:t>
                      </a:r>
                      <a:endParaRPr lang="en-US" sz="28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solidFill>
                      <a:srgbClr val="00634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61018993"/>
                  </a:ext>
                </a:extLst>
              </a:tr>
              <a:tr h="977206">
                <a:tc>
                  <a:txBody>
                    <a:bodyPr/>
                    <a:lstStyle/>
                    <a:p>
                      <a:pPr algn="l" fontAlgn="ctr"/>
                      <a:r>
                        <a:rPr lang="en-US" sz="2000" u="none" strike="noStrike" dirty="0" smtClean="0">
                          <a:solidFill>
                            <a:schemeClr val="bg1"/>
                          </a:solidFill>
                          <a:effectLst/>
                        </a:rPr>
                        <a:t>Improve Student Completion</a:t>
                      </a:r>
                      <a:endParaRPr lang="en-US" sz="2000" b="0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82880" marR="6350" marT="6350" marB="0" anchor="ctr"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800" b="0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800" b="0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CRM live for counseling. All support services now online.</a:t>
                      </a:r>
                      <a:endParaRPr lang="en-US" sz="18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182880" marR="6350" marT="6350" marB="0" anchor="ctr">
                    <a:solidFill>
                      <a:schemeClr val="tx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88878336"/>
                  </a:ext>
                </a:extLst>
              </a:tr>
              <a:tr h="977206">
                <a:tc>
                  <a:txBody>
                    <a:bodyPr/>
                    <a:lstStyle/>
                    <a:p>
                      <a:pPr algn="l" fontAlgn="ctr"/>
                      <a:r>
                        <a:rPr lang="en-US" sz="2000" u="none" strike="noStrike" dirty="0" smtClean="0">
                          <a:solidFill>
                            <a:schemeClr val="bg1"/>
                          </a:solidFill>
                          <a:effectLst/>
                        </a:rPr>
                        <a:t>K-12 &amp;</a:t>
                      </a:r>
                      <a:r>
                        <a:rPr lang="en-US" sz="2000" u="none" strike="noStrike" baseline="0" dirty="0" smtClean="0">
                          <a:solidFill>
                            <a:schemeClr val="bg1"/>
                          </a:solidFill>
                          <a:effectLst/>
                        </a:rPr>
                        <a:t> Adult School Partnerships</a:t>
                      </a:r>
                      <a:endParaRPr lang="en-US" sz="2000" b="0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82880" marR="6350" marT="6350" marB="0" anchor="ctr"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800" b="0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800" b="0" i="0" u="none" strike="noStrike" kern="1200" baseline="0" dirty="0" smtClean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Two CRER and 3 ECE sections will be offered at high schools this fall.</a:t>
                      </a:r>
                      <a:endParaRPr lang="en-US" sz="18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182880" marR="6350" marT="6350" marB="0" anchor="ctr">
                    <a:solidFill>
                      <a:schemeClr val="tx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19881888"/>
                  </a:ext>
                </a:extLst>
              </a:tr>
              <a:tr h="977206">
                <a:tc>
                  <a:txBody>
                    <a:bodyPr/>
                    <a:lstStyle/>
                    <a:p>
                      <a:pPr algn="l" fontAlgn="ctr"/>
                      <a:r>
                        <a:rPr lang="en-US" sz="2000" u="none" strike="noStrike" dirty="0" smtClean="0">
                          <a:solidFill>
                            <a:schemeClr val="bg1"/>
                          </a:solidFill>
                          <a:effectLst/>
                        </a:rPr>
                        <a:t>Enhance Marketing </a:t>
                      </a:r>
                      <a:endParaRPr lang="en-US" sz="2000" b="0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82880" marR="6350" marT="6350" marB="0" anchor="ctr"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800" b="0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800" b="0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Student-led website redesign.</a:t>
                      </a:r>
                      <a:r>
                        <a:rPr lang="en-US" sz="1800" b="0" i="0" u="none" strike="noStrike" kern="1200" baseline="0" dirty="0" smtClean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 Enrollment campaigns in two languages.</a:t>
                      </a:r>
                      <a:endParaRPr lang="en-US" sz="18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182880" marR="6350" marT="6350" marB="0" anchor="ctr">
                    <a:solidFill>
                      <a:schemeClr val="tx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56296287"/>
                  </a:ext>
                </a:extLst>
              </a:tr>
              <a:tr h="977206">
                <a:tc>
                  <a:txBody>
                    <a:bodyPr/>
                    <a:lstStyle/>
                    <a:p>
                      <a:pPr algn="l" fontAlgn="ctr"/>
                      <a:r>
                        <a:rPr lang="en-US" sz="2000" u="none" strike="noStrike" dirty="0" smtClean="0">
                          <a:solidFill>
                            <a:schemeClr val="bg1"/>
                          </a:solidFill>
                          <a:effectLst/>
                        </a:rPr>
                        <a:t>Implement</a:t>
                      </a:r>
                      <a:r>
                        <a:rPr lang="en-US" sz="2000" u="none" strike="noStrike" baseline="0" dirty="0" smtClean="0">
                          <a:solidFill>
                            <a:schemeClr val="bg1"/>
                          </a:solidFill>
                          <a:effectLst/>
                        </a:rPr>
                        <a:t> Professional Learning Plan</a:t>
                      </a:r>
                      <a:endParaRPr lang="en-US" sz="2000" b="0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82880" marR="6350" marT="6350" marB="0" anchor="ctr"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800" b="0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800" b="0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72 faculty completed QOTL.  21 faculty and staff participated</a:t>
                      </a:r>
                      <a:r>
                        <a:rPr lang="en-US" sz="1800" b="0" i="0" u="none" strike="noStrike" kern="1200" baseline="0" dirty="0" smtClean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in USC Racial Equity Alliance e-</a:t>
                      </a:r>
                      <a:r>
                        <a:rPr lang="en-US" sz="1800" b="0" i="0" u="none" strike="noStrike" kern="1200" baseline="0" dirty="0" err="1" smtClean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convenings</a:t>
                      </a:r>
                      <a:r>
                        <a:rPr lang="en-US" sz="1800" b="0" i="0" u="none" strike="noStrike" kern="1200" baseline="0" dirty="0" smtClean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and shared learnings at Flex. CORA Learning.</a:t>
                      </a:r>
                      <a:endParaRPr lang="en-US" sz="18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182880" marR="6350" marT="6350" marB="0" anchor="ctr">
                    <a:solidFill>
                      <a:schemeClr val="tx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4759583"/>
                  </a:ext>
                </a:extLst>
              </a:tr>
              <a:tr h="977206">
                <a:tc>
                  <a:txBody>
                    <a:bodyPr/>
                    <a:lstStyle/>
                    <a:p>
                      <a:pPr algn="l" fontAlgn="ctr"/>
                      <a:r>
                        <a:rPr lang="en-US" sz="2000" u="none" strike="noStrike" dirty="0" smtClean="0">
                          <a:solidFill>
                            <a:schemeClr val="bg1"/>
                          </a:solidFill>
                          <a:effectLst/>
                        </a:rPr>
                        <a:t>Promote a Climate of Inclusivity</a:t>
                      </a:r>
                      <a:endParaRPr lang="en-US" sz="2000" b="0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82880" marR="6350" marT="6350" marB="0" anchor="ctr"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800" b="0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800" b="0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Monthly Community</a:t>
                      </a:r>
                      <a:r>
                        <a:rPr lang="en-US" sz="1800" b="0" i="0" u="none" strike="noStrike" kern="1200" baseline="0" dirty="0" smtClean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Read events. New Employee Orientation.  Interest Area Success Team pilot.</a:t>
                      </a:r>
                      <a:endParaRPr lang="en-US" sz="18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182880" marR="6350" marT="6350" marB="0" anchor="ctr">
                    <a:solidFill>
                      <a:schemeClr val="tx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65900898"/>
                  </a:ext>
                </a:extLst>
              </a:tr>
              <a:tr h="977206">
                <a:tc>
                  <a:txBody>
                    <a:bodyPr/>
                    <a:lstStyle/>
                    <a:p>
                      <a:pPr algn="l" fontAlgn="ctr"/>
                      <a:r>
                        <a:rPr lang="en-US" sz="2000" u="none" strike="noStrike" dirty="0" smtClean="0">
                          <a:solidFill>
                            <a:schemeClr val="bg1"/>
                          </a:solidFill>
                          <a:effectLst/>
                        </a:rPr>
                        <a:t>Institutionalize Effective Structures to Reduce Obligation</a:t>
                      </a:r>
                      <a:r>
                        <a:rPr lang="en-US" sz="2000" u="none" strike="noStrike" baseline="0" dirty="0" smtClean="0">
                          <a:solidFill>
                            <a:schemeClr val="bg1"/>
                          </a:solidFill>
                          <a:effectLst/>
                        </a:rPr>
                        <a:t> Gaps</a:t>
                      </a:r>
                      <a:endParaRPr lang="en-US" sz="2000" b="0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82880" marR="6350" marT="6350" marB="0" anchor="ctr"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800" b="0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800" b="0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Interest</a:t>
                      </a:r>
                      <a:r>
                        <a:rPr lang="en-US" sz="1800" b="0" i="0" u="none" strike="noStrike" kern="1200" baseline="0" dirty="0" smtClean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Area Success Team pilot.  Colts Con expansion.  Retention Specialists formed a “community of practice” to align supports.</a:t>
                      </a:r>
                      <a:endParaRPr lang="en-US" sz="18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182880" marR="6350" marT="6350" marB="0" anchor="ctr">
                    <a:solidFill>
                      <a:schemeClr val="tx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42720752"/>
                  </a:ext>
                </a:extLst>
              </a:tr>
            </a:tbl>
          </a:graphicData>
        </a:graphic>
      </p:graphicFrame>
      <p:graphicFrame>
        <p:nvGraphicFramePr>
          <p:cNvPr id="12" name="Chart 11"/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46293710"/>
              </p:ext>
            </p:extLst>
          </p:nvPr>
        </p:nvGraphicFramePr>
        <p:xfrm>
          <a:off x="3609474" y="1946187"/>
          <a:ext cx="2024912" cy="11242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9" name="Chart 8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227553486"/>
              </p:ext>
            </p:extLst>
          </p:nvPr>
        </p:nvGraphicFramePr>
        <p:xfrm>
          <a:off x="3674640" y="910323"/>
          <a:ext cx="1899788" cy="11414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15" name="Chart 14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961647608"/>
              </p:ext>
            </p:extLst>
          </p:nvPr>
        </p:nvGraphicFramePr>
        <p:xfrm>
          <a:off x="3669428" y="2790816"/>
          <a:ext cx="1905000" cy="12001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14" name="Chart 1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105087793"/>
              </p:ext>
            </p:extLst>
          </p:nvPr>
        </p:nvGraphicFramePr>
        <p:xfrm>
          <a:off x="3615942" y="3875151"/>
          <a:ext cx="1899788" cy="11414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16" name="Chart 15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96344592"/>
              </p:ext>
            </p:extLst>
          </p:nvPr>
        </p:nvGraphicFramePr>
        <p:xfrm>
          <a:off x="3609474" y="5821339"/>
          <a:ext cx="1899788" cy="11414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17" name="Chart 16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300428391"/>
              </p:ext>
            </p:extLst>
          </p:nvPr>
        </p:nvGraphicFramePr>
        <p:xfrm>
          <a:off x="3609474" y="4795825"/>
          <a:ext cx="1899788" cy="11414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</p:spTree>
    <p:extLst>
      <p:ext uri="{BB962C8B-B14F-4D97-AF65-F5344CB8AC3E}">
        <p14:creationId xmlns:p14="http://schemas.microsoft.com/office/powerpoint/2010/main" val="36444038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913794" y="1271752"/>
            <a:ext cx="10911354" cy="5328745"/>
          </a:xfrm>
        </p:spPr>
        <p:txBody>
          <a:bodyPr>
            <a:normAutofit/>
          </a:bodyPr>
          <a:lstStyle/>
          <a:p>
            <a:r>
              <a:rPr lang="en-US" sz="3600" b="1" dirty="0"/>
              <a:t>Ethnic Studies program</a:t>
            </a:r>
          </a:p>
          <a:p>
            <a:pPr lvl="1"/>
            <a:r>
              <a:rPr lang="en-US" sz="3000" dirty="0"/>
              <a:t>All submitted courses were transfer approved </a:t>
            </a:r>
          </a:p>
          <a:p>
            <a:pPr lvl="1"/>
            <a:r>
              <a:rPr lang="en-US" sz="3000" dirty="0"/>
              <a:t>FT Faculty search re-starting this Fall semester</a:t>
            </a:r>
          </a:p>
          <a:p>
            <a:pPr lvl="1"/>
            <a:r>
              <a:rPr lang="en-US" sz="3000" dirty="0"/>
              <a:t>Special thanks to Profs. Gaines, Iyenagar, Ware, Palmer, and Tedone-Goldstone. And also to former President Moore and VPAS Mendoza. </a:t>
            </a:r>
          </a:p>
          <a:p>
            <a:r>
              <a:rPr lang="en-US" sz="3600" b="1" dirty="0" err="1"/>
              <a:t>Umoja</a:t>
            </a:r>
            <a:r>
              <a:rPr lang="en-US" sz="3600" b="1" dirty="0"/>
              <a:t> program</a:t>
            </a:r>
          </a:p>
          <a:p>
            <a:pPr lvl="1"/>
            <a:r>
              <a:rPr lang="en-US" sz="3000" dirty="0"/>
              <a:t>Flex Day session (August 17, 1-2:30pm): Tom Dewit on “How to Umoja-ify Your Teaching”</a:t>
            </a:r>
          </a:p>
          <a:p>
            <a:pPr lvl="1"/>
            <a:r>
              <a:rPr lang="en-US" sz="3000" dirty="0"/>
              <a:t>Special thanks to Profs. Ware, Hoffman, </a:t>
            </a:r>
            <a:r>
              <a:rPr lang="en-US" sz="3000" dirty="0" smtClean="0"/>
              <a:t>Terzakis, and </a:t>
            </a:r>
            <a:r>
              <a:rPr lang="en-US" sz="3000" dirty="0"/>
              <a:t>Aranyukal. And also to Dean Carranza and VPI Robinson.</a:t>
            </a:r>
          </a:p>
          <a:p>
            <a:pPr lvl="1"/>
            <a:endParaRPr lang="en-US" sz="3000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BF518A3A-ECE0-42A2-BD7B-43096BD7B6FA}"/>
              </a:ext>
            </a:extLst>
          </p:cNvPr>
          <p:cNvSpPr/>
          <p:nvPr/>
        </p:nvSpPr>
        <p:spPr>
          <a:xfrm>
            <a:off x="366852" y="228614"/>
            <a:ext cx="11458296" cy="690843"/>
          </a:xfrm>
          <a:prstGeom prst="rect">
            <a:avLst/>
          </a:prstGeom>
          <a:solidFill>
            <a:srgbClr val="006633"/>
          </a:solidFill>
          <a:ln>
            <a:noFill/>
          </a:ln>
          <a:effectLst/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/>
          </a:p>
        </p:txBody>
      </p:sp>
      <p:sp>
        <p:nvSpPr>
          <p:cNvPr id="5" name="Title 1"/>
          <p:cNvSpPr txBox="1">
            <a:spLocks/>
          </p:cNvSpPr>
          <p:nvPr/>
        </p:nvSpPr>
        <p:spPr>
          <a:xfrm>
            <a:off x="733704" y="323024"/>
            <a:ext cx="10515600" cy="528108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0000"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sz="3600" b="1" dirty="0" smtClean="0">
                <a:solidFill>
                  <a:schemeClr val="bg1"/>
                </a:solidFill>
                <a:effectLst>
                  <a:outerShdw blurRad="50800" dist="50800" dir="5400000" algn="ctr" rotWithShape="0">
                    <a:srgbClr val="000000">
                      <a:alpha val="43137"/>
                    </a:srgbClr>
                  </a:outerShdw>
                </a:effectLst>
                <a:latin typeface="Franklin Gothic Book" panose="020B0503020102020204" pitchFamily="34" charset="0"/>
              </a:rPr>
              <a:t>Additional Highlights: </a:t>
            </a:r>
            <a:r>
              <a:rPr lang="en-US" sz="3600" b="1" dirty="0">
                <a:solidFill>
                  <a:schemeClr val="bg1"/>
                </a:solidFill>
                <a:effectLst>
                  <a:outerShdw blurRad="50800" dist="50800" dir="5400000" algn="ctr" rotWithShape="0">
                    <a:srgbClr val="000000">
                      <a:alpha val="43137"/>
                    </a:srgbClr>
                  </a:outerShdw>
                </a:effectLst>
                <a:latin typeface="Franklin Gothic Book" panose="020B0503020102020204" pitchFamily="34" charset="0"/>
              </a:rPr>
              <a:t>2020 &amp; 2021 </a:t>
            </a:r>
          </a:p>
        </p:txBody>
      </p:sp>
      <p:sp>
        <p:nvSpPr>
          <p:cNvPr id="6" name="Rectangle 9">
            <a:extLst>
              <a:ext uri="{FF2B5EF4-FFF2-40B4-BE49-F238E27FC236}">
                <a16:creationId xmlns:a16="http://schemas.microsoft.com/office/drawing/2014/main" id="{29C5912D-DD36-465B-BD92-BB0220505875}"/>
              </a:ext>
            </a:extLst>
          </p:cNvPr>
          <p:cNvSpPr/>
          <p:nvPr/>
        </p:nvSpPr>
        <p:spPr>
          <a:xfrm rot="10800000" flipH="1">
            <a:off x="366852" y="228614"/>
            <a:ext cx="1788160" cy="690775"/>
          </a:xfrm>
          <a:custGeom>
            <a:avLst/>
            <a:gdLst>
              <a:gd name="connsiteX0" fmla="*/ 0 w 1995342"/>
              <a:gd name="connsiteY0" fmla="*/ 0 h 690843"/>
              <a:gd name="connsiteX1" fmla="*/ 1995342 w 1995342"/>
              <a:gd name="connsiteY1" fmla="*/ 0 h 690843"/>
              <a:gd name="connsiteX2" fmla="*/ 1995342 w 1995342"/>
              <a:gd name="connsiteY2" fmla="*/ 690843 h 690843"/>
              <a:gd name="connsiteX3" fmla="*/ 0 w 1995342"/>
              <a:gd name="connsiteY3" fmla="*/ 690843 h 690843"/>
              <a:gd name="connsiteX4" fmla="*/ 0 w 1995342"/>
              <a:gd name="connsiteY4" fmla="*/ 0 h 690843"/>
              <a:gd name="connsiteX0" fmla="*/ 0 w 1995342"/>
              <a:gd name="connsiteY0" fmla="*/ 0 h 690843"/>
              <a:gd name="connsiteX1" fmla="*/ 1375630 w 1995342"/>
              <a:gd name="connsiteY1" fmla="*/ 0 h 690843"/>
              <a:gd name="connsiteX2" fmla="*/ 1995342 w 1995342"/>
              <a:gd name="connsiteY2" fmla="*/ 690843 h 690843"/>
              <a:gd name="connsiteX3" fmla="*/ 0 w 1995342"/>
              <a:gd name="connsiteY3" fmla="*/ 690843 h 690843"/>
              <a:gd name="connsiteX4" fmla="*/ 0 w 1995342"/>
              <a:gd name="connsiteY4" fmla="*/ 0 h 690843"/>
              <a:gd name="connsiteX0" fmla="*/ 0 w 1995342"/>
              <a:gd name="connsiteY0" fmla="*/ 0 h 690843"/>
              <a:gd name="connsiteX1" fmla="*/ 1427711 w 1995342"/>
              <a:gd name="connsiteY1" fmla="*/ 53873 h 690843"/>
              <a:gd name="connsiteX2" fmla="*/ 1995342 w 1995342"/>
              <a:gd name="connsiteY2" fmla="*/ 690843 h 690843"/>
              <a:gd name="connsiteX3" fmla="*/ 0 w 1995342"/>
              <a:gd name="connsiteY3" fmla="*/ 690843 h 690843"/>
              <a:gd name="connsiteX4" fmla="*/ 0 w 1995342"/>
              <a:gd name="connsiteY4" fmla="*/ 0 h 690843"/>
              <a:gd name="connsiteX0" fmla="*/ 26571 w 1995342"/>
              <a:gd name="connsiteY0" fmla="*/ 15898 h 636970"/>
              <a:gd name="connsiteX1" fmla="*/ 1427711 w 1995342"/>
              <a:gd name="connsiteY1" fmla="*/ 0 h 636970"/>
              <a:gd name="connsiteX2" fmla="*/ 1995342 w 1995342"/>
              <a:gd name="connsiteY2" fmla="*/ 636970 h 636970"/>
              <a:gd name="connsiteX3" fmla="*/ 0 w 1995342"/>
              <a:gd name="connsiteY3" fmla="*/ 636970 h 636970"/>
              <a:gd name="connsiteX4" fmla="*/ 26571 w 1995342"/>
              <a:gd name="connsiteY4" fmla="*/ 15898 h 636970"/>
              <a:gd name="connsiteX0" fmla="*/ 0 w 1995342"/>
              <a:gd name="connsiteY0" fmla="*/ 0 h 640502"/>
              <a:gd name="connsiteX1" fmla="*/ 1427711 w 1995342"/>
              <a:gd name="connsiteY1" fmla="*/ 3532 h 640502"/>
              <a:gd name="connsiteX2" fmla="*/ 1995342 w 1995342"/>
              <a:gd name="connsiteY2" fmla="*/ 640502 h 640502"/>
              <a:gd name="connsiteX3" fmla="*/ 0 w 1995342"/>
              <a:gd name="connsiteY3" fmla="*/ 640502 h 640502"/>
              <a:gd name="connsiteX4" fmla="*/ 0 w 1995342"/>
              <a:gd name="connsiteY4" fmla="*/ 0 h 640502"/>
              <a:gd name="connsiteX0" fmla="*/ 0 w 1995342"/>
              <a:gd name="connsiteY0" fmla="*/ 0 h 640502"/>
              <a:gd name="connsiteX1" fmla="*/ 1420271 w 1995342"/>
              <a:gd name="connsiteY1" fmla="*/ 1765 h 640502"/>
              <a:gd name="connsiteX2" fmla="*/ 1995342 w 1995342"/>
              <a:gd name="connsiteY2" fmla="*/ 640502 h 640502"/>
              <a:gd name="connsiteX3" fmla="*/ 0 w 1995342"/>
              <a:gd name="connsiteY3" fmla="*/ 640502 h 640502"/>
              <a:gd name="connsiteX4" fmla="*/ 0 w 1995342"/>
              <a:gd name="connsiteY4" fmla="*/ 0 h 640502"/>
              <a:gd name="connsiteX0" fmla="*/ 0 w 1995342"/>
              <a:gd name="connsiteY0" fmla="*/ 0 h 640502"/>
              <a:gd name="connsiteX1" fmla="*/ 1439402 w 1995342"/>
              <a:gd name="connsiteY1" fmla="*/ 3532 h 640502"/>
              <a:gd name="connsiteX2" fmla="*/ 1995342 w 1995342"/>
              <a:gd name="connsiteY2" fmla="*/ 640502 h 640502"/>
              <a:gd name="connsiteX3" fmla="*/ 0 w 1995342"/>
              <a:gd name="connsiteY3" fmla="*/ 640502 h 640502"/>
              <a:gd name="connsiteX4" fmla="*/ 0 w 1995342"/>
              <a:gd name="connsiteY4" fmla="*/ 0 h 640502"/>
              <a:gd name="connsiteX0" fmla="*/ 0 w 1995342"/>
              <a:gd name="connsiteY0" fmla="*/ 0 h 640502"/>
              <a:gd name="connsiteX1" fmla="*/ 1441528 w 1995342"/>
              <a:gd name="connsiteY1" fmla="*/ 1765 h 640502"/>
              <a:gd name="connsiteX2" fmla="*/ 1995342 w 1995342"/>
              <a:gd name="connsiteY2" fmla="*/ 640502 h 640502"/>
              <a:gd name="connsiteX3" fmla="*/ 0 w 1995342"/>
              <a:gd name="connsiteY3" fmla="*/ 640502 h 640502"/>
              <a:gd name="connsiteX4" fmla="*/ 0 w 1995342"/>
              <a:gd name="connsiteY4" fmla="*/ 0 h 640502"/>
              <a:gd name="connsiteX0" fmla="*/ 0 w 1995342"/>
              <a:gd name="connsiteY0" fmla="*/ 0 h 640502"/>
              <a:gd name="connsiteX1" fmla="*/ 1442591 w 1995342"/>
              <a:gd name="connsiteY1" fmla="*/ 882 h 640502"/>
              <a:gd name="connsiteX2" fmla="*/ 1995342 w 1995342"/>
              <a:gd name="connsiteY2" fmla="*/ 640502 h 640502"/>
              <a:gd name="connsiteX3" fmla="*/ 0 w 1995342"/>
              <a:gd name="connsiteY3" fmla="*/ 640502 h 640502"/>
              <a:gd name="connsiteX4" fmla="*/ 0 w 1995342"/>
              <a:gd name="connsiteY4" fmla="*/ 0 h 6405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95342" h="640502">
                <a:moveTo>
                  <a:pt x="0" y="0"/>
                </a:moveTo>
                <a:lnTo>
                  <a:pt x="1442591" y="882"/>
                </a:lnTo>
                <a:lnTo>
                  <a:pt x="1995342" y="640502"/>
                </a:lnTo>
                <a:lnTo>
                  <a:pt x="0" y="640502"/>
                </a:lnTo>
                <a:lnTo>
                  <a:pt x="0" y="0"/>
                </a:lnTo>
                <a:close/>
              </a:path>
            </a:pathLst>
          </a:custGeom>
          <a:ln>
            <a:noFill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sz="1100" dirty="0"/>
          </a:p>
        </p:txBody>
      </p:sp>
    </p:spTree>
    <p:extLst>
      <p:ext uri="{BB962C8B-B14F-4D97-AF65-F5344CB8AC3E}">
        <p14:creationId xmlns:p14="http://schemas.microsoft.com/office/powerpoint/2010/main" val="32054457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BF518A3A-ECE0-42A2-BD7B-43096BD7B6FA}"/>
              </a:ext>
            </a:extLst>
          </p:cNvPr>
          <p:cNvSpPr/>
          <p:nvPr/>
        </p:nvSpPr>
        <p:spPr>
          <a:xfrm>
            <a:off x="366852" y="228614"/>
            <a:ext cx="11458296" cy="690843"/>
          </a:xfrm>
          <a:prstGeom prst="rect">
            <a:avLst/>
          </a:prstGeom>
          <a:solidFill>
            <a:srgbClr val="006633"/>
          </a:solidFill>
          <a:ln>
            <a:noFill/>
          </a:ln>
          <a:effectLst/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/>
          </a:p>
        </p:txBody>
      </p:sp>
      <p:sp>
        <p:nvSpPr>
          <p:cNvPr id="2" name="Title 1"/>
          <p:cNvSpPr txBox="1">
            <a:spLocks/>
          </p:cNvSpPr>
          <p:nvPr/>
        </p:nvSpPr>
        <p:spPr>
          <a:xfrm>
            <a:off x="733704" y="323024"/>
            <a:ext cx="10515600" cy="528108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0000"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sz="3600" b="1" dirty="0" smtClean="0">
                <a:solidFill>
                  <a:schemeClr val="bg1"/>
                </a:solidFill>
                <a:effectLst>
                  <a:outerShdw blurRad="50800" dist="50800" dir="5400000" algn="ctr" rotWithShape="0">
                    <a:srgbClr val="000000">
                      <a:alpha val="43137"/>
                    </a:srgbClr>
                  </a:outerShdw>
                </a:effectLst>
                <a:latin typeface="Franklin Gothic Book" panose="020B0503020102020204" pitchFamily="34" charset="0"/>
              </a:rPr>
              <a:t>Return to Campus</a:t>
            </a:r>
            <a:endParaRPr lang="en-US" sz="3600" b="1" dirty="0">
              <a:solidFill>
                <a:schemeClr val="bg1"/>
              </a:solidFill>
              <a:effectLst>
                <a:outerShdw blurRad="50800" dist="50800" dir="5400000" algn="ctr" rotWithShape="0">
                  <a:srgbClr val="000000">
                    <a:alpha val="43137"/>
                  </a:srgbClr>
                </a:outerShdw>
              </a:effectLst>
              <a:latin typeface="Franklin Gothic Book" panose="020B0503020102020204" pitchFamily="34" charset="0"/>
            </a:endParaRPr>
          </a:p>
        </p:txBody>
      </p:sp>
      <p:sp>
        <p:nvSpPr>
          <p:cNvPr id="3" name="Rectangle 9">
            <a:extLst>
              <a:ext uri="{FF2B5EF4-FFF2-40B4-BE49-F238E27FC236}">
                <a16:creationId xmlns:a16="http://schemas.microsoft.com/office/drawing/2014/main" id="{29C5912D-DD36-465B-BD92-BB0220505875}"/>
              </a:ext>
            </a:extLst>
          </p:cNvPr>
          <p:cNvSpPr/>
          <p:nvPr/>
        </p:nvSpPr>
        <p:spPr>
          <a:xfrm rot="10800000" flipH="1">
            <a:off x="366852" y="228614"/>
            <a:ext cx="1788160" cy="690775"/>
          </a:xfrm>
          <a:custGeom>
            <a:avLst/>
            <a:gdLst>
              <a:gd name="connsiteX0" fmla="*/ 0 w 1995342"/>
              <a:gd name="connsiteY0" fmla="*/ 0 h 690843"/>
              <a:gd name="connsiteX1" fmla="*/ 1995342 w 1995342"/>
              <a:gd name="connsiteY1" fmla="*/ 0 h 690843"/>
              <a:gd name="connsiteX2" fmla="*/ 1995342 w 1995342"/>
              <a:gd name="connsiteY2" fmla="*/ 690843 h 690843"/>
              <a:gd name="connsiteX3" fmla="*/ 0 w 1995342"/>
              <a:gd name="connsiteY3" fmla="*/ 690843 h 690843"/>
              <a:gd name="connsiteX4" fmla="*/ 0 w 1995342"/>
              <a:gd name="connsiteY4" fmla="*/ 0 h 690843"/>
              <a:gd name="connsiteX0" fmla="*/ 0 w 1995342"/>
              <a:gd name="connsiteY0" fmla="*/ 0 h 690843"/>
              <a:gd name="connsiteX1" fmla="*/ 1375630 w 1995342"/>
              <a:gd name="connsiteY1" fmla="*/ 0 h 690843"/>
              <a:gd name="connsiteX2" fmla="*/ 1995342 w 1995342"/>
              <a:gd name="connsiteY2" fmla="*/ 690843 h 690843"/>
              <a:gd name="connsiteX3" fmla="*/ 0 w 1995342"/>
              <a:gd name="connsiteY3" fmla="*/ 690843 h 690843"/>
              <a:gd name="connsiteX4" fmla="*/ 0 w 1995342"/>
              <a:gd name="connsiteY4" fmla="*/ 0 h 690843"/>
              <a:gd name="connsiteX0" fmla="*/ 0 w 1995342"/>
              <a:gd name="connsiteY0" fmla="*/ 0 h 690843"/>
              <a:gd name="connsiteX1" fmla="*/ 1427711 w 1995342"/>
              <a:gd name="connsiteY1" fmla="*/ 53873 h 690843"/>
              <a:gd name="connsiteX2" fmla="*/ 1995342 w 1995342"/>
              <a:gd name="connsiteY2" fmla="*/ 690843 h 690843"/>
              <a:gd name="connsiteX3" fmla="*/ 0 w 1995342"/>
              <a:gd name="connsiteY3" fmla="*/ 690843 h 690843"/>
              <a:gd name="connsiteX4" fmla="*/ 0 w 1995342"/>
              <a:gd name="connsiteY4" fmla="*/ 0 h 690843"/>
              <a:gd name="connsiteX0" fmla="*/ 26571 w 1995342"/>
              <a:gd name="connsiteY0" fmla="*/ 15898 h 636970"/>
              <a:gd name="connsiteX1" fmla="*/ 1427711 w 1995342"/>
              <a:gd name="connsiteY1" fmla="*/ 0 h 636970"/>
              <a:gd name="connsiteX2" fmla="*/ 1995342 w 1995342"/>
              <a:gd name="connsiteY2" fmla="*/ 636970 h 636970"/>
              <a:gd name="connsiteX3" fmla="*/ 0 w 1995342"/>
              <a:gd name="connsiteY3" fmla="*/ 636970 h 636970"/>
              <a:gd name="connsiteX4" fmla="*/ 26571 w 1995342"/>
              <a:gd name="connsiteY4" fmla="*/ 15898 h 636970"/>
              <a:gd name="connsiteX0" fmla="*/ 0 w 1995342"/>
              <a:gd name="connsiteY0" fmla="*/ 0 h 640502"/>
              <a:gd name="connsiteX1" fmla="*/ 1427711 w 1995342"/>
              <a:gd name="connsiteY1" fmla="*/ 3532 h 640502"/>
              <a:gd name="connsiteX2" fmla="*/ 1995342 w 1995342"/>
              <a:gd name="connsiteY2" fmla="*/ 640502 h 640502"/>
              <a:gd name="connsiteX3" fmla="*/ 0 w 1995342"/>
              <a:gd name="connsiteY3" fmla="*/ 640502 h 640502"/>
              <a:gd name="connsiteX4" fmla="*/ 0 w 1995342"/>
              <a:gd name="connsiteY4" fmla="*/ 0 h 640502"/>
              <a:gd name="connsiteX0" fmla="*/ 0 w 1995342"/>
              <a:gd name="connsiteY0" fmla="*/ 0 h 640502"/>
              <a:gd name="connsiteX1" fmla="*/ 1420271 w 1995342"/>
              <a:gd name="connsiteY1" fmla="*/ 1765 h 640502"/>
              <a:gd name="connsiteX2" fmla="*/ 1995342 w 1995342"/>
              <a:gd name="connsiteY2" fmla="*/ 640502 h 640502"/>
              <a:gd name="connsiteX3" fmla="*/ 0 w 1995342"/>
              <a:gd name="connsiteY3" fmla="*/ 640502 h 640502"/>
              <a:gd name="connsiteX4" fmla="*/ 0 w 1995342"/>
              <a:gd name="connsiteY4" fmla="*/ 0 h 640502"/>
              <a:gd name="connsiteX0" fmla="*/ 0 w 1995342"/>
              <a:gd name="connsiteY0" fmla="*/ 0 h 640502"/>
              <a:gd name="connsiteX1" fmla="*/ 1439402 w 1995342"/>
              <a:gd name="connsiteY1" fmla="*/ 3532 h 640502"/>
              <a:gd name="connsiteX2" fmla="*/ 1995342 w 1995342"/>
              <a:gd name="connsiteY2" fmla="*/ 640502 h 640502"/>
              <a:gd name="connsiteX3" fmla="*/ 0 w 1995342"/>
              <a:gd name="connsiteY3" fmla="*/ 640502 h 640502"/>
              <a:gd name="connsiteX4" fmla="*/ 0 w 1995342"/>
              <a:gd name="connsiteY4" fmla="*/ 0 h 640502"/>
              <a:gd name="connsiteX0" fmla="*/ 0 w 1995342"/>
              <a:gd name="connsiteY0" fmla="*/ 0 h 640502"/>
              <a:gd name="connsiteX1" fmla="*/ 1441528 w 1995342"/>
              <a:gd name="connsiteY1" fmla="*/ 1765 h 640502"/>
              <a:gd name="connsiteX2" fmla="*/ 1995342 w 1995342"/>
              <a:gd name="connsiteY2" fmla="*/ 640502 h 640502"/>
              <a:gd name="connsiteX3" fmla="*/ 0 w 1995342"/>
              <a:gd name="connsiteY3" fmla="*/ 640502 h 640502"/>
              <a:gd name="connsiteX4" fmla="*/ 0 w 1995342"/>
              <a:gd name="connsiteY4" fmla="*/ 0 h 640502"/>
              <a:gd name="connsiteX0" fmla="*/ 0 w 1995342"/>
              <a:gd name="connsiteY0" fmla="*/ 0 h 640502"/>
              <a:gd name="connsiteX1" fmla="*/ 1442591 w 1995342"/>
              <a:gd name="connsiteY1" fmla="*/ 882 h 640502"/>
              <a:gd name="connsiteX2" fmla="*/ 1995342 w 1995342"/>
              <a:gd name="connsiteY2" fmla="*/ 640502 h 640502"/>
              <a:gd name="connsiteX3" fmla="*/ 0 w 1995342"/>
              <a:gd name="connsiteY3" fmla="*/ 640502 h 640502"/>
              <a:gd name="connsiteX4" fmla="*/ 0 w 1995342"/>
              <a:gd name="connsiteY4" fmla="*/ 0 h 6405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95342" h="640502">
                <a:moveTo>
                  <a:pt x="0" y="0"/>
                </a:moveTo>
                <a:lnTo>
                  <a:pt x="1442591" y="882"/>
                </a:lnTo>
                <a:lnTo>
                  <a:pt x="1995342" y="640502"/>
                </a:lnTo>
                <a:lnTo>
                  <a:pt x="0" y="640502"/>
                </a:lnTo>
                <a:lnTo>
                  <a:pt x="0" y="0"/>
                </a:lnTo>
                <a:close/>
              </a:path>
            </a:pathLst>
          </a:custGeom>
          <a:ln>
            <a:noFill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sz="1100" dirty="0"/>
          </a:p>
        </p:txBody>
      </p:sp>
      <p:graphicFrame>
        <p:nvGraphicFramePr>
          <p:cNvPr id="5" name="Tab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60354035"/>
              </p:ext>
            </p:extLst>
          </p:nvPr>
        </p:nvGraphicFramePr>
        <p:xfrm>
          <a:off x="947171" y="4835496"/>
          <a:ext cx="11107554" cy="134112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3702518">
                  <a:extLst>
                    <a:ext uri="{9D8B030D-6E8A-4147-A177-3AD203B41FA5}">
                      <a16:colId xmlns:a16="http://schemas.microsoft.com/office/drawing/2014/main" val="2445603517"/>
                    </a:ext>
                  </a:extLst>
                </a:gridCol>
                <a:gridCol w="3702518">
                  <a:extLst>
                    <a:ext uri="{9D8B030D-6E8A-4147-A177-3AD203B41FA5}">
                      <a16:colId xmlns:a16="http://schemas.microsoft.com/office/drawing/2014/main" val="2188556946"/>
                    </a:ext>
                  </a:extLst>
                </a:gridCol>
                <a:gridCol w="3702518">
                  <a:extLst>
                    <a:ext uri="{9D8B030D-6E8A-4147-A177-3AD203B41FA5}">
                      <a16:colId xmlns:a16="http://schemas.microsoft.com/office/drawing/2014/main" val="3489188181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marL="36900" indent="0" algn="l" defTabSz="457200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SzPct val="70000"/>
                        <a:buFont typeface="Wingdings 2" charset="2"/>
                        <a:buNone/>
                      </a:pPr>
                      <a:r>
                        <a:rPr lang="en-US" sz="2400" b="1" kern="1200" dirty="0">
                          <a:ln>
                            <a:solidFill>
                              <a:schemeClr val="bg1">
                                <a:lumMod val="75000"/>
                                <a:lumOff val="25000"/>
                                <a:alpha val="10000"/>
                              </a:schemeClr>
                            </a:solidFill>
                          </a:ln>
                          <a:solidFill>
                            <a:schemeClr val="tx2"/>
                          </a:solidFill>
                          <a:effectLst>
                            <a:outerShdw blurRad="9525" dist="25400" dir="14640000" algn="tl" rotWithShape="0">
                              <a:schemeClr val="bg1">
                                <a:alpha val="30000"/>
                              </a:schemeClr>
                            </a:outerShdw>
                          </a:effectLst>
                          <a:latin typeface="+mn-lt"/>
                          <a:ea typeface="+mn-ea"/>
                          <a:cs typeface="+mn-cs"/>
                        </a:rPr>
                        <a:t>Tammy Robinson</a:t>
                      </a:r>
                    </a:p>
                    <a:p>
                      <a:pPr marL="36900" indent="0" algn="l" defTabSz="457200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SzPct val="70000"/>
                        <a:buFont typeface="Wingdings 2" charset="2"/>
                        <a:buNone/>
                      </a:pPr>
                      <a:r>
                        <a:rPr lang="en-US" sz="2000" b="0" kern="1200" dirty="0">
                          <a:ln>
                            <a:solidFill>
                              <a:schemeClr val="bg1">
                                <a:lumMod val="75000"/>
                                <a:lumOff val="25000"/>
                                <a:alpha val="10000"/>
                              </a:schemeClr>
                            </a:solidFill>
                          </a:ln>
                          <a:solidFill>
                            <a:schemeClr val="tx2"/>
                          </a:solidFill>
                          <a:effectLst>
                            <a:outerShdw blurRad="9525" dist="25400" dir="14640000" algn="tl" rotWithShape="0">
                              <a:schemeClr val="bg1">
                                <a:alpha val="30000"/>
                              </a:schemeClr>
                            </a:outerShdw>
                          </a:effectLst>
                          <a:latin typeface="+mn-lt"/>
                          <a:ea typeface="+mn-ea"/>
                          <a:cs typeface="+mn-cs"/>
                        </a:rPr>
                        <a:t>Vice President of Instruction</a:t>
                      </a:r>
                    </a:p>
                    <a:p>
                      <a:endParaRPr lang="en-US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6900" indent="0" algn="l" defTabSz="457200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SzPct val="70000"/>
                        <a:buFont typeface="Wingdings 2" charset="2"/>
                        <a:buNone/>
                      </a:pPr>
                      <a:r>
                        <a:rPr lang="en-US" sz="2400" b="1" kern="1200" dirty="0">
                          <a:ln>
                            <a:solidFill>
                              <a:schemeClr val="bg1">
                                <a:lumMod val="75000"/>
                                <a:lumOff val="25000"/>
                                <a:alpha val="10000"/>
                              </a:schemeClr>
                            </a:solidFill>
                          </a:ln>
                          <a:solidFill>
                            <a:schemeClr val="tx2"/>
                          </a:solidFill>
                          <a:effectLst>
                            <a:outerShdw blurRad="9525" dist="25400" dir="14640000" algn="tl" rotWithShape="0">
                              <a:schemeClr val="bg1">
                                <a:alpha val="30000"/>
                              </a:schemeClr>
                            </a:outerShdw>
                          </a:effectLst>
                          <a:latin typeface="+mn-lt"/>
                          <a:ea typeface="+mn-ea"/>
                          <a:cs typeface="+mn-cs"/>
                        </a:rPr>
                        <a:t>Manuel Alejandro Pérez</a:t>
                      </a:r>
                    </a:p>
                    <a:p>
                      <a:pPr marL="36900" indent="0" algn="l" defTabSz="457200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SzPct val="70000"/>
                        <a:buFont typeface="Wingdings 2" charset="2"/>
                        <a:buNone/>
                      </a:pPr>
                      <a:r>
                        <a:rPr lang="en-US" sz="2000" b="0" kern="1200" dirty="0">
                          <a:ln>
                            <a:solidFill>
                              <a:schemeClr val="bg1">
                                <a:lumMod val="75000"/>
                                <a:lumOff val="25000"/>
                                <a:alpha val="10000"/>
                              </a:schemeClr>
                            </a:solidFill>
                          </a:ln>
                          <a:solidFill>
                            <a:schemeClr val="tx2"/>
                          </a:solidFill>
                          <a:effectLst>
                            <a:outerShdw blurRad="9525" dist="25400" dir="14640000" algn="tl" rotWithShape="0">
                              <a:schemeClr val="bg1">
                                <a:alpha val="30000"/>
                              </a:schemeClr>
                            </a:outerShdw>
                          </a:effectLst>
                          <a:latin typeface="+mn-lt"/>
                          <a:ea typeface="+mn-ea"/>
                          <a:cs typeface="+mn-cs"/>
                        </a:rPr>
                        <a:t>Vice President of </a:t>
                      </a:r>
                    </a:p>
                    <a:p>
                      <a:pPr marL="36900" indent="0" algn="l" defTabSz="457200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SzPct val="70000"/>
                        <a:buFont typeface="Wingdings 2" charset="2"/>
                        <a:buNone/>
                      </a:pPr>
                      <a:r>
                        <a:rPr lang="en-US" sz="2000" b="0" kern="1200" dirty="0">
                          <a:ln>
                            <a:solidFill>
                              <a:schemeClr val="bg1">
                                <a:lumMod val="75000"/>
                                <a:lumOff val="25000"/>
                                <a:alpha val="10000"/>
                              </a:schemeClr>
                            </a:solidFill>
                          </a:ln>
                          <a:solidFill>
                            <a:schemeClr val="tx2"/>
                          </a:solidFill>
                          <a:effectLst>
                            <a:outerShdw blurRad="9525" dist="25400" dir="14640000" algn="tl" rotWithShape="0">
                              <a:schemeClr val="bg1">
                                <a:alpha val="30000"/>
                              </a:schemeClr>
                            </a:outerShdw>
                          </a:effectLst>
                          <a:latin typeface="+mn-lt"/>
                          <a:ea typeface="+mn-ea"/>
                          <a:cs typeface="+mn-cs"/>
                        </a:rPr>
                        <a:t>Student Services</a:t>
                      </a:r>
                    </a:p>
                    <a:p>
                      <a:endParaRPr lang="en-US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6900" indent="0" algn="l" defTabSz="457200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SzPct val="70000"/>
                        <a:buFont typeface="Wingdings 2" charset="2"/>
                        <a:buNone/>
                      </a:pPr>
                      <a:r>
                        <a:rPr lang="en-US" sz="2400" b="1" kern="1200" dirty="0">
                          <a:ln>
                            <a:solidFill>
                              <a:schemeClr val="bg1">
                                <a:lumMod val="75000"/>
                                <a:lumOff val="25000"/>
                                <a:alpha val="10000"/>
                              </a:schemeClr>
                            </a:solidFill>
                          </a:ln>
                          <a:solidFill>
                            <a:schemeClr val="tx2"/>
                          </a:solidFill>
                          <a:effectLst>
                            <a:outerShdw blurRad="9525" dist="25400" dir="14640000" algn="tl" rotWithShape="0">
                              <a:schemeClr val="bg1">
                                <a:alpha val="30000"/>
                              </a:schemeClr>
                            </a:outerShdw>
                          </a:effectLst>
                          <a:latin typeface="+mn-lt"/>
                          <a:ea typeface="+mn-ea"/>
                          <a:cs typeface="+mn-cs"/>
                        </a:rPr>
                        <a:t>Graciano Mendoza</a:t>
                      </a:r>
                    </a:p>
                    <a:p>
                      <a:pPr marL="36900" indent="0" algn="l" defTabSz="457200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SzPct val="70000"/>
                        <a:buFont typeface="Wingdings 2" charset="2"/>
                        <a:buNone/>
                      </a:pPr>
                      <a:r>
                        <a:rPr lang="en-US" sz="2000" b="0" kern="1200" dirty="0">
                          <a:ln>
                            <a:solidFill>
                              <a:schemeClr val="bg1">
                                <a:lumMod val="75000"/>
                                <a:lumOff val="25000"/>
                                <a:alpha val="10000"/>
                              </a:schemeClr>
                            </a:solidFill>
                          </a:ln>
                          <a:solidFill>
                            <a:schemeClr val="tx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Vice President</a:t>
                      </a:r>
                      <a:r>
                        <a:rPr lang="en-US" sz="2000" b="0" kern="1200" baseline="0" dirty="0">
                          <a:ln>
                            <a:solidFill>
                              <a:schemeClr val="bg1">
                                <a:lumMod val="75000"/>
                                <a:lumOff val="25000"/>
                                <a:alpha val="10000"/>
                              </a:schemeClr>
                            </a:solidFill>
                          </a:ln>
                          <a:solidFill>
                            <a:schemeClr val="tx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of </a:t>
                      </a:r>
                    </a:p>
                    <a:p>
                      <a:pPr marL="36900" indent="0" algn="l" defTabSz="457200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SzPct val="70000"/>
                        <a:buFont typeface="Wingdings 2" charset="2"/>
                        <a:buNone/>
                      </a:pPr>
                      <a:r>
                        <a:rPr lang="en-US" sz="2000" b="0" kern="1200" baseline="0" dirty="0">
                          <a:ln>
                            <a:solidFill>
                              <a:schemeClr val="bg1">
                                <a:lumMod val="75000"/>
                                <a:lumOff val="25000"/>
                                <a:alpha val="10000"/>
                              </a:schemeClr>
                            </a:solidFill>
                          </a:ln>
                          <a:solidFill>
                            <a:schemeClr val="tx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dministrative Services</a:t>
                      </a:r>
                      <a:endParaRPr lang="en-US" sz="2000" b="0" kern="1200" dirty="0">
                        <a:ln>
                          <a:solidFill>
                            <a:schemeClr val="bg1">
                              <a:lumMod val="75000"/>
                              <a:lumOff val="25000"/>
                              <a:alpha val="10000"/>
                            </a:schemeClr>
                          </a:solidFill>
                        </a:ln>
                        <a:solidFill>
                          <a:schemeClr val="tx2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endParaRPr lang="en-US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37806313"/>
                  </a:ext>
                </a:extLst>
              </a:tr>
            </a:tbl>
          </a:graphicData>
        </a:graphic>
      </p:graphicFrame>
      <p:pic>
        <p:nvPicPr>
          <p:cNvPr id="6" name="Picture 2" descr="Tammy Robinson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1547" y="2094524"/>
            <a:ext cx="2315098" cy="25155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4" descr="Manuel Perez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1351"/>
          <a:stretch/>
        </p:blipFill>
        <p:spPr bwMode="auto">
          <a:xfrm>
            <a:off x="4778022" y="2043937"/>
            <a:ext cx="2319690" cy="26167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6" descr="Thumbnail for Mendoza, Graciano"/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3246"/>
          <a:stretch/>
        </p:blipFill>
        <p:spPr bwMode="auto">
          <a:xfrm>
            <a:off x="8469089" y="2043937"/>
            <a:ext cx="2281188" cy="26294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094358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919119" y="1340564"/>
            <a:ext cx="10353762" cy="5274743"/>
          </a:xfrm>
        </p:spPr>
        <p:txBody>
          <a:bodyPr>
            <a:normAutofit fontScale="92500" lnSpcReduction="10000"/>
          </a:bodyPr>
          <a:lstStyle/>
          <a:p>
            <a:pPr lvl="0"/>
            <a:r>
              <a:rPr lang="en-US" b="1" dirty="0">
                <a:effectLst/>
              </a:rPr>
              <a:t>Returning On-site.</a:t>
            </a:r>
            <a:r>
              <a:rPr lang="en-US" dirty="0">
                <a:effectLst/>
              </a:rPr>
              <a:t> </a:t>
            </a:r>
          </a:p>
          <a:p>
            <a:pPr lvl="1"/>
            <a:r>
              <a:rPr lang="en-US" b="1" i="1" dirty="0">
                <a:effectLst/>
              </a:rPr>
              <a:t>Administrators, Managers and Supervisors</a:t>
            </a:r>
            <a:r>
              <a:rPr lang="en-US" dirty="0">
                <a:effectLst/>
              </a:rPr>
              <a:t> </a:t>
            </a:r>
            <a:endParaRPr lang="en-US" sz="2600" dirty="0">
              <a:effectLst/>
            </a:endParaRPr>
          </a:p>
          <a:p>
            <a:pPr lvl="1"/>
            <a:r>
              <a:rPr lang="en-US" b="1" i="1" dirty="0">
                <a:effectLst/>
              </a:rPr>
              <a:t>Classified Personnel</a:t>
            </a:r>
            <a:endParaRPr lang="en-US" sz="1600" dirty="0">
              <a:effectLst/>
            </a:endParaRPr>
          </a:p>
          <a:p>
            <a:pPr lvl="1"/>
            <a:r>
              <a:rPr lang="en-US" b="1" i="1" dirty="0">
                <a:effectLst/>
              </a:rPr>
              <a:t>Faculty</a:t>
            </a:r>
            <a:endParaRPr lang="en-US" sz="1600" dirty="0">
              <a:effectLst/>
            </a:endParaRPr>
          </a:p>
          <a:p>
            <a:r>
              <a:rPr lang="en-US" b="1" dirty="0" smtClean="0">
                <a:effectLst/>
              </a:rPr>
              <a:t>Vaccines </a:t>
            </a:r>
            <a:r>
              <a:rPr lang="en-US" b="1" dirty="0">
                <a:effectLst/>
              </a:rPr>
              <a:t>are Required.</a:t>
            </a:r>
            <a:r>
              <a:rPr lang="en-US" dirty="0">
                <a:effectLst/>
              </a:rPr>
              <a:t>   </a:t>
            </a:r>
            <a:endParaRPr lang="en-US" sz="2800" dirty="0">
              <a:effectLst/>
            </a:endParaRPr>
          </a:p>
          <a:p>
            <a:pPr lvl="0"/>
            <a:r>
              <a:rPr lang="en-US" b="1" dirty="0">
                <a:effectLst/>
              </a:rPr>
              <a:t>Face Coverings are</a:t>
            </a:r>
            <a:r>
              <a:rPr lang="en-US" dirty="0">
                <a:effectLst/>
              </a:rPr>
              <a:t> </a:t>
            </a:r>
            <a:r>
              <a:rPr lang="en-US" b="1" dirty="0">
                <a:effectLst/>
              </a:rPr>
              <a:t>Required. </a:t>
            </a:r>
            <a:r>
              <a:rPr lang="en-US" dirty="0">
                <a:effectLst/>
              </a:rPr>
              <a:t>  </a:t>
            </a:r>
            <a:endParaRPr lang="en-US" sz="2800" dirty="0">
              <a:effectLst/>
            </a:endParaRPr>
          </a:p>
          <a:p>
            <a:pPr lvl="0"/>
            <a:r>
              <a:rPr lang="en-US" b="1" dirty="0">
                <a:effectLst/>
              </a:rPr>
              <a:t>Buildings are Cal/OSHA Compliant and Clean.  </a:t>
            </a:r>
          </a:p>
          <a:p>
            <a:pPr lvl="0"/>
            <a:r>
              <a:rPr lang="en-US" b="1" dirty="0">
                <a:effectLst/>
              </a:rPr>
              <a:t>Personal Protective Equipment available from the campus Public Safety Office.</a:t>
            </a:r>
            <a:r>
              <a:rPr lang="en-US" dirty="0">
                <a:effectLst/>
              </a:rPr>
              <a:t>   </a:t>
            </a:r>
            <a:endParaRPr lang="en-US" sz="2800" dirty="0">
              <a:effectLst/>
            </a:endParaRPr>
          </a:p>
          <a:p>
            <a:pPr lvl="0"/>
            <a:r>
              <a:rPr lang="en-US" b="1" dirty="0">
                <a:effectLst/>
              </a:rPr>
              <a:t>Requesting Accommodations.</a:t>
            </a:r>
            <a:r>
              <a:rPr lang="en-US" dirty="0">
                <a:effectLst/>
              </a:rPr>
              <a:t> </a:t>
            </a:r>
            <a:endParaRPr lang="en-US" dirty="0" smtClean="0">
              <a:effectLst/>
            </a:endParaRPr>
          </a:p>
          <a:p>
            <a:pPr lvl="0"/>
            <a:endParaRPr lang="en-US" dirty="0">
              <a:effectLst/>
            </a:endParaRPr>
          </a:p>
          <a:p>
            <a:pPr marL="36900" lvl="0" indent="0">
              <a:lnSpc>
                <a:spcPct val="110000"/>
              </a:lnSpc>
              <a:spcBef>
                <a:spcPts val="0"/>
              </a:spcBef>
              <a:buNone/>
            </a:pPr>
            <a:r>
              <a:rPr lang="en-US" dirty="0" smtClean="0">
                <a:effectLst/>
              </a:rPr>
              <a:t>DISTRICT Return </a:t>
            </a:r>
            <a:r>
              <a:rPr lang="en-US" dirty="0">
                <a:effectLst/>
              </a:rPr>
              <a:t>to Campus website:  </a:t>
            </a:r>
            <a:endParaRPr lang="en-US" dirty="0" smtClean="0">
              <a:effectLst/>
            </a:endParaRPr>
          </a:p>
          <a:p>
            <a:pPr marL="36900" lvl="0" indent="0">
              <a:lnSpc>
                <a:spcPct val="110000"/>
              </a:lnSpc>
              <a:spcBef>
                <a:spcPts val="0"/>
              </a:spcBef>
              <a:buNone/>
            </a:pPr>
            <a:r>
              <a:rPr lang="en-US" dirty="0" smtClean="0">
                <a:effectLst/>
                <a:hlinkClick r:id="rId2"/>
              </a:rPr>
              <a:t>https</a:t>
            </a:r>
            <a:r>
              <a:rPr lang="en-US" dirty="0">
                <a:effectLst/>
                <a:hlinkClick r:id="rId2"/>
              </a:rPr>
              <a:t>://</a:t>
            </a:r>
            <a:r>
              <a:rPr lang="en-US" dirty="0" smtClean="0">
                <a:effectLst/>
                <a:hlinkClick r:id="rId2"/>
              </a:rPr>
              <a:t>smccd.edu/return-to-campus/index.php</a:t>
            </a:r>
            <a:endParaRPr lang="en-US" dirty="0" smtClean="0">
              <a:effectLst/>
            </a:endParaRPr>
          </a:p>
          <a:p>
            <a:pPr marL="36900" lvl="0" indent="0">
              <a:buNone/>
            </a:pPr>
            <a:endParaRPr lang="en-US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BF518A3A-ECE0-42A2-BD7B-43096BD7B6FA}"/>
              </a:ext>
            </a:extLst>
          </p:cNvPr>
          <p:cNvSpPr/>
          <p:nvPr/>
        </p:nvSpPr>
        <p:spPr>
          <a:xfrm>
            <a:off x="366852" y="228614"/>
            <a:ext cx="11458296" cy="690843"/>
          </a:xfrm>
          <a:prstGeom prst="rect">
            <a:avLst/>
          </a:prstGeom>
          <a:solidFill>
            <a:srgbClr val="006633"/>
          </a:solidFill>
          <a:ln>
            <a:noFill/>
          </a:ln>
          <a:effectLst/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/>
          </a:p>
        </p:txBody>
      </p:sp>
      <p:sp>
        <p:nvSpPr>
          <p:cNvPr id="5" name="Title 1"/>
          <p:cNvSpPr txBox="1">
            <a:spLocks/>
          </p:cNvSpPr>
          <p:nvPr/>
        </p:nvSpPr>
        <p:spPr>
          <a:xfrm>
            <a:off x="733704" y="323024"/>
            <a:ext cx="10515600" cy="528108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0000"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sz="3600" b="1" dirty="0" smtClean="0">
                <a:solidFill>
                  <a:schemeClr val="bg1"/>
                </a:solidFill>
                <a:effectLst>
                  <a:outerShdw blurRad="50800" dist="50800" dir="5400000" algn="ctr" rotWithShape="0">
                    <a:srgbClr val="000000">
                      <a:alpha val="43137"/>
                    </a:srgbClr>
                  </a:outerShdw>
                </a:effectLst>
                <a:latin typeface="Franklin Gothic Book" panose="020B0503020102020204" pitchFamily="34" charset="0"/>
              </a:rPr>
              <a:t>Return to Campus</a:t>
            </a:r>
            <a:endParaRPr lang="en-US" sz="3600" b="1" dirty="0">
              <a:solidFill>
                <a:schemeClr val="bg1"/>
              </a:solidFill>
              <a:effectLst>
                <a:outerShdw blurRad="50800" dist="50800" dir="5400000" algn="ctr" rotWithShape="0">
                  <a:srgbClr val="000000">
                    <a:alpha val="43137"/>
                  </a:srgbClr>
                </a:outerShdw>
              </a:effectLst>
              <a:latin typeface="Franklin Gothic Book" panose="020B0503020102020204" pitchFamily="34" charset="0"/>
            </a:endParaRPr>
          </a:p>
        </p:txBody>
      </p:sp>
      <p:sp>
        <p:nvSpPr>
          <p:cNvPr id="6" name="Rectangle 9">
            <a:extLst>
              <a:ext uri="{FF2B5EF4-FFF2-40B4-BE49-F238E27FC236}">
                <a16:creationId xmlns:a16="http://schemas.microsoft.com/office/drawing/2014/main" id="{29C5912D-DD36-465B-BD92-BB0220505875}"/>
              </a:ext>
            </a:extLst>
          </p:cNvPr>
          <p:cNvSpPr/>
          <p:nvPr/>
        </p:nvSpPr>
        <p:spPr>
          <a:xfrm rot="10800000" flipH="1">
            <a:off x="366852" y="228614"/>
            <a:ext cx="1788160" cy="690775"/>
          </a:xfrm>
          <a:custGeom>
            <a:avLst/>
            <a:gdLst>
              <a:gd name="connsiteX0" fmla="*/ 0 w 1995342"/>
              <a:gd name="connsiteY0" fmla="*/ 0 h 690843"/>
              <a:gd name="connsiteX1" fmla="*/ 1995342 w 1995342"/>
              <a:gd name="connsiteY1" fmla="*/ 0 h 690843"/>
              <a:gd name="connsiteX2" fmla="*/ 1995342 w 1995342"/>
              <a:gd name="connsiteY2" fmla="*/ 690843 h 690843"/>
              <a:gd name="connsiteX3" fmla="*/ 0 w 1995342"/>
              <a:gd name="connsiteY3" fmla="*/ 690843 h 690843"/>
              <a:gd name="connsiteX4" fmla="*/ 0 w 1995342"/>
              <a:gd name="connsiteY4" fmla="*/ 0 h 690843"/>
              <a:gd name="connsiteX0" fmla="*/ 0 w 1995342"/>
              <a:gd name="connsiteY0" fmla="*/ 0 h 690843"/>
              <a:gd name="connsiteX1" fmla="*/ 1375630 w 1995342"/>
              <a:gd name="connsiteY1" fmla="*/ 0 h 690843"/>
              <a:gd name="connsiteX2" fmla="*/ 1995342 w 1995342"/>
              <a:gd name="connsiteY2" fmla="*/ 690843 h 690843"/>
              <a:gd name="connsiteX3" fmla="*/ 0 w 1995342"/>
              <a:gd name="connsiteY3" fmla="*/ 690843 h 690843"/>
              <a:gd name="connsiteX4" fmla="*/ 0 w 1995342"/>
              <a:gd name="connsiteY4" fmla="*/ 0 h 690843"/>
              <a:gd name="connsiteX0" fmla="*/ 0 w 1995342"/>
              <a:gd name="connsiteY0" fmla="*/ 0 h 690843"/>
              <a:gd name="connsiteX1" fmla="*/ 1427711 w 1995342"/>
              <a:gd name="connsiteY1" fmla="*/ 53873 h 690843"/>
              <a:gd name="connsiteX2" fmla="*/ 1995342 w 1995342"/>
              <a:gd name="connsiteY2" fmla="*/ 690843 h 690843"/>
              <a:gd name="connsiteX3" fmla="*/ 0 w 1995342"/>
              <a:gd name="connsiteY3" fmla="*/ 690843 h 690843"/>
              <a:gd name="connsiteX4" fmla="*/ 0 w 1995342"/>
              <a:gd name="connsiteY4" fmla="*/ 0 h 690843"/>
              <a:gd name="connsiteX0" fmla="*/ 26571 w 1995342"/>
              <a:gd name="connsiteY0" fmla="*/ 15898 h 636970"/>
              <a:gd name="connsiteX1" fmla="*/ 1427711 w 1995342"/>
              <a:gd name="connsiteY1" fmla="*/ 0 h 636970"/>
              <a:gd name="connsiteX2" fmla="*/ 1995342 w 1995342"/>
              <a:gd name="connsiteY2" fmla="*/ 636970 h 636970"/>
              <a:gd name="connsiteX3" fmla="*/ 0 w 1995342"/>
              <a:gd name="connsiteY3" fmla="*/ 636970 h 636970"/>
              <a:gd name="connsiteX4" fmla="*/ 26571 w 1995342"/>
              <a:gd name="connsiteY4" fmla="*/ 15898 h 636970"/>
              <a:gd name="connsiteX0" fmla="*/ 0 w 1995342"/>
              <a:gd name="connsiteY0" fmla="*/ 0 h 640502"/>
              <a:gd name="connsiteX1" fmla="*/ 1427711 w 1995342"/>
              <a:gd name="connsiteY1" fmla="*/ 3532 h 640502"/>
              <a:gd name="connsiteX2" fmla="*/ 1995342 w 1995342"/>
              <a:gd name="connsiteY2" fmla="*/ 640502 h 640502"/>
              <a:gd name="connsiteX3" fmla="*/ 0 w 1995342"/>
              <a:gd name="connsiteY3" fmla="*/ 640502 h 640502"/>
              <a:gd name="connsiteX4" fmla="*/ 0 w 1995342"/>
              <a:gd name="connsiteY4" fmla="*/ 0 h 640502"/>
              <a:gd name="connsiteX0" fmla="*/ 0 w 1995342"/>
              <a:gd name="connsiteY0" fmla="*/ 0 h 640502"/>
              <a:gd name="connsiteX1" fmla="*/ 1420271 w 1995342"/>
              <a:gd name="connsiteY1" fmla="*/ 1765 h 640502"/>
              <a:gd name="connsiteX2" fmla="*/ 1995342 w 1995342"/>
              <a:gd name="connsiteY2" fmla="*/ 640502 h 640502"/>
              <a:gd name="connsiteX3" fmla="*/ 0 w 1995342"/>
              <a:gd name="connsiteY3" fmla="*/ 640502 h 640502"/>
              <a:gd name="connsiteX4" fmla="*/ 0 w 1995342"/>
              <a:gd name="connsiteY4" fmla="*/ 0 h 640502"/>
              <a:gd name="connsiteX0" fmla="*/ 0 w 1995342"/>
              <a:gd name="connsiteY0" fmla="*/ 0 h 640502"/>
              <a:gd name="connsiteX1" fmla="*/ 1439402 w 1995342"/>
              <a:gd name="connsiteY1" fmla="*/ 3532 h 640502"/>
              <a:gd name="connsiteX2" fmla="*/ 1995342 w 1995342"/>
              <a:gd name="connsiteY2" fmla="*/ 640502 h 640502"/>
              <a:gd name="connsiteX3" fmla="*/ 0 w 1995342"/>
              <a:gd name="connsiteY3" fmla="*/ 640502 h 640502"/>
              <a:gd name="connsiteX4" fmla="*/ 0 w 1995342"/>
              <a:gd name="connsiteY4" fmla="*/ 0 h 640502"/>
              <a:gd name="connsiteX0" fmla="*/ 0 w 1995342"/>
              <a:gd name="connsiteY0" fmla="*/ 0 h 640502"/>
              <a:gd name="connsiteX1" fmla="*/ 1441528 w 1995342"/>
              <a:gd name="connsiteY1" fmla="*/ 1765 h 640502"/>
              <a:gd name="connsiteX2" fmla="*/ 1995342 w 1995342"/>
              <a:gd name="connsiteY2" fmla="*/ 640502 h 640502"/>
              <a:gd name="connsiteX3" fmla="*/ 0 w 1995342"/>
              <a:gd name="connsiteY3" fmla="*/ 640502 h 640502"/>
              <a:gd name="connsiteX4" fmla="*/ 0 w 1995342"/>
              <a:gd name="connsiteY4" fmla="*/ 0 h 640502"/>
              <a:gd name="connsiteX0" fmla="*/ 0 w 1995342"/>
              <a:gd name="connsiteY0" fmla="*/ 0 h 640502"/>
              <a:gd name="connsiteX1" fmla="*/ 1442591 w 1995342"/>
              <a:gd name="connsiteY1" fmla="*/ 882 h 640502"/>
              <a:gd name="connsiteX2" fmla="*/ 1995342 w 1995342"/>
              <a:gd name="connsiteY2" fmla="*/ 640502 h 640502"/>
              <a:gd name="connsiteX3" fmla="*/ 0 w 1995342"/>
              <a:gd name="connsiteY3" fmla="*/ 640502 h 640502"/>
              <a:gd name="connsiteX4" fmla="*/ 0 w 1995342"/>
              <a:gd name="connsiteY4" fmla="*/ 0 h 6405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95342" h="640502">
                <a:moveTo>
                  <a:pt x="0" y="0"/>
                </a:moveTo>
                <a:lnTo>
                  <a:pt x="1442591" y="882"/>
                </a:lnTo>
                <a:lnTo>
                  <a:pt x="1995342" y="640502"/>
                </a:lnTo>
                <a:lnTo>
                  <a:pt x="0" y="640502"/>
                </a:lnTo>
                <a:lnTo>
                  <a:pt x="0" y="0"/>
                </a:lnTo>
                <a:close/>
              </a:path>
            </a:pathLst>
          </a:custGeom>
          <a:ln>
            <a:noFill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sz="1100" dirty="0"/>
          </a:p>
        </p:txBody>
      </p:sp>
    </p:spTree>
    <p:extLst>
      <p:ext uri="{BB962C8B-B14F-4D97-AF65-F5344CB8AC3E}">
        <p14:creationId xmlns:p14="http://schemas.microsoft.com/office/powerpoint/2010/main" val="28781335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90652" y="1818881"/>
            <a:ext cx="6041806" cy="2692771"/>
          </a:xfrm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en-US" dirty="0" smtClean="0"/>
              <a:t>A two-tiered pandemic</a:t>
            </a:r>
          </a:p>
          <a:p>
            <a:pPr lvl="1"/>
            <a:r>
              <a:rPr lang="en-US" sz="1800" dirty="0" smtClean="0"/>
              <a:t>Upper income workers mostly remained employed and are now seeing dramatic wage increases</a:t>
            </a:r>
          </a:p>
          <a:p>
            <a:pPr lvl="1"/>
            <a:r>
              <a:rPr lang="en-US" sz="1800" dirty="0" smtClean="0"/>
              <a:t>Lower income workers saw steep employment declines and now more modest wage increases</a:t>
            </a:r>
          </a:p>
          <a:p>
            <a:pPr lvl="1"/>
            <a:r>
              <a:rPr lang="en-US" sz="1800" dirty="0" smtClean="0"/>
              <a:t>13.7% of San Mateo County rental households were behind on paying rent as of early July.</a:t>
            </a:r>
          </a:p>
          <a:p>
            <a:pPr lvl="1"/>
            <a:r>
              <a:rPr lang="en-US" sz="1800" dirty="0" smtClean="0"/>
              <a:t>San Mateo County </a:t>
            </a:r>
            <a:r>
              <a:rPr lang="en-US" sz="1800" dirty="0">
                <a:effectLst/>
              </a:rPr>
              <a:t>has experienced the largest increase in food stamp enrollment in the state since January 2020, with a 41 percent jump in the number of people here relying on </a:t>
            </a:r>
            <a:r>
              <a:rPr lang="en-US" sz="1800" dirty="0" err="1" smtClean="0">
                <a:effectLst/>
              </a:rPr>
              <a:t>CalFresh</a:t>
            </a:r>
            <a:r>
              <a:rPr lang="en-US" sz="1800" dirty="0" smtClean="0">
                <a:effectLst/>
              </a:rPr>
              <a:t>.</a:t>
            </a:r>
            <a:endParaRPr lang="en-US" sz="1800" dirty="0" smtClean="0"/>
          </a:p>
          <a:p>
            <a:pPr lvl="1"/>
            <a:endParaRPr lang="en-US" sz="2000" dirty="0" smtClean="0"/>
          </a:p>
          <a:p>
            <a:pPr lvl="1"/>
            <a:endParaRPr lang="en-US" sz="2000" dirty="0"/>
          </a:p>
        </p:txBody>
      </p:sp>
      <p:pic>
        <p:nvPicPr>
          <p:cNvPr id="13314" name="Picture 2" descr="Mural in North Fair Oaks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93314" y="1818881"/>
            <a:ext cx="5498991" cy="34368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extBox 3"/>
          <p:cNvSpPr txBox="1"/>
          <p:nvPr/>
        </p:nvSpPr>
        <p:spPr>
          <a:xfrm>
            <a:off x="6676939" y="5368433"/>
            <a:ext cx="531536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North Fair Oaks Mural depicting the history of the area</a:t>
            </a:r>
            <a:endParaRPr lang="en-US" dirty="0"/>
          </a:p>
        </p:txBody>
      </p:sp>
      <p:sp>
        <p:nvSpPr>
          <p:cNvPr id="5" name="TextBox 4"/>
          <p:cNvSpPr txBox="1"/>
          <p:nvPr/>
        </p:nvSpPr>
        <p:spPr>
          <a:xfrm>
            <a:off x="134007" y="6488668"/>
            <a:ext cx="10517623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dirty="0" smtClean="0"/>
              <a:t>Sources:  </a:t>
            </a:r>
            <a:r>
              <a:rPr lang="en-US" sz="1100" dirty="0">
                <a:hlinkClick r:id="rId3"/>
              </a:rPr>
              <a:t>https://</a:t>
            </a:r>
            <a:r>
              <a:rPr lang="en-US" sz="1100" dirty="0" smtClean="0">
                <a:hlinkClick r:id="rId3"/>
              </a:rPr>
              <a:t>patch.com/california/sanbruno/time-bomb-ticking-see-rental-arrears-san-mateo-county</a:t>
            </a:r>
            <a:r>
              <a:rPr lang="en-US" sz="1100" dirty="0"/>
              <a:t>; https://www.nytimes.com/2021/08/10/us/bay-area-hunger-problem.html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F518A3A-ECE0-42A2-BD7B-43096BD7B6FA}"/>
              </a:ext>
            </a:extLst>
          </p:cNvPr>
          <p:cNvSpPr/>
          <p:nvPr/>
        </p:nvSpPr>
        <p:spPr>
          <a:xfrm>
            <a:off x="366852" y="228614"/>
            <a:ext cx="11458296" cy="690843"/>
          </a:xfrm>
          <a:prstGeom prst="rect">
            <a:avLst/>
          </a:prstGeom>
          <a:solidFill>
            <a:srgbClr val="006633"/>
          </a:solidFill>
          <a:ln>
            <a:noFill/>
          </a:ln>
          <a:effectLst/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/>
          </a:p>
        </p:txBody>
      </p:sp>
      <p:sp>
        <p:nvSpPr>
          <p:cNvPr id="8" name="Title 1"/>
          <p:cNvSpPr txBox="1">
            <a:spLocks/>
          </p:cNvSpPr>
          <p:nvPr/>
        </p:nvSpPr>
        <p:spPr>
          <a:xfrm>
            <a:off x="733704" y="323024"/>
            <a:ext cx="10515600" cy="528108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0000"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sz="3600" b="1" dirty="0" smtClean="0">
                <a:solidFill>
                  <a:schemeClr val="bg1"/>
                </a:solidFill>
                <a:effectLst>
                  <a:outerShdw blurRad="50800" dist="50800" dir="5400000" algn="ctr" rotWithShape="0">
                    <a:srgbClr val="000000">
                      <a:alpha val="43137"/>
                    </a:srgbClr>
                  </a:outerShdw>
                </a:effectLst>
                <a:latin typeface="Franklin Gothic Book" panose="020B0503020102020204" pitchFamily="34" charset="0"/>
              </a:rPr>
              <a:t>Recovery with Equity:  Our Community</a:t>
            </a:r>
            <a:endParaRPr lang="en-US" sz="3600" b="1" dirty="0">
              <a:solidFill>
                <a:schemeClr val="bg1"/>
              </a:solidFill>
              <a:effectLst>
                <a:outerShdw blurRad="50800" dist="50800" dir="5400000" algn="ctr" rotWithShape="0">
                  <a:srgbClr val="000000">
                    <a:alpha val="43137"/>
                  </a:srgbClr>
                </a:outerShdw>
              </a:effectLst>
              <a:latin typeface="Franklin Gothic Book" panose="020B0503020102020204" pitchFamily="34" charset="0"/>
            </a:endParaRPr>
          </a:p>
        </p:txBody>
      </p:sp>
      <p:sp>
        <p:nvSpPr>
          <p:cNvPr id="9" name="Rectangle 9">
            <a:extLst>
              <a:ext uri="{FF2B5EF4-FFF2-40B4-BE49-F238E27FC236}">
                <a16:creationId xmlns:a16="http://schemas.microsoft.com/office/drawing/2014/main" id="{29C5912D-DD36-465B-BD92-BB0220505875}"/>
              </a:ext>
            </a:extLst>
          </p:cNvPr>
          <p:cNvSpPr/>
          <p:nvPr/>
        </p:nvSpPr>
        <p:spPr>
          <a:xfrm rot="10800000" flipH="1">
            <a:off x="366852" y="228614"/>
            <a:ext cx="1788160" cy="690775"/>
          </a:xfrm>
          <a:custGeom>
            <a:avLst/>
            <a:gdLst>
              <a:gd name="connsiteX0" fmla="*/ 0 w 1995342"/>
              <a:gd name="connsiteY0" fmla="*/ 0 h 690843"/>
              <a:gd name="connsiteX1" fmla="*/ 1995342 w 1995342"/>
              <a:gd name="connsiteY1" fmla="*/ 0 h 690843"/>
              <a:gd name="connsiteX2" fmla="*/ 1995342 w 1995342"/>
              <a:gd name="connsiteY2" fmla="*/ 690843 h 690843"/>
              <a:gd name="connsiteX3" fmla="*/ 0 w 1995342"/>
              <a:gd name="connsiteY3" fmla="*/ 690843 h 690843"/>
              <a:gd name="connsiteX4" fmla="*/ 0 w 1995342"/>
              <a:gd name="connsiteY4" fmla="*/ 0 h 690843"/>
              <a:gd name="connsiteX0" fmla="*/ 0 w 1995342"/>
              <a:gd name="connsiteY0" fmla="*/ 0 h 690843"/>
              <a:gd name="connsiteX1" fmla="*/ 1375630 w 1995342"/>
              <a:gd name="connsiteY1" fmla="*/ 0 h 690843"/>
              <a:gd name="connsiteX2" fmla="*/ 1995342 w 1995342"/>
              <a:gd name="connsiteY2" fmla="*/ 690843 h 690843"/>
              <a:gd name="connsiteX3" fmla="*/ 0 w 1995342"/>
              <a:gd name="connsiteY3" fmla="*/ 690843 h 690843"/>
              <a:gd name="connsiteX4" fmla="*/ 0 w 1995342"/>
              <a:gd name="connsiteY4" fmla="*/ 0 h 690843"/>
              <a:gd name="connsiteX0" fmla="*/ 0 w 1995342"/>
              <a:gd name="connsiteY0" fmla="*/ 0 h 690843"/>
              <a:gd name="connsiteX1" fmla="*/ 1427711 w 1995342"/>
              <a:gd name="connsiteY1" fmla="*/ 53873 h 690843"/>
              <a:gd name="connsiteX2" fmla="*/ 1995342 w 1995342"/>
              <a:gd name="connsiteY2" fmla="*/ 690843 h 690843"/>
              <a:gd name="connsiteX3" fmla="*/ 0 w 1995342"/>
              <a:gd name="connsiteY3" fmla="*/ 690843 h 690843"/>
              <a:gd name="connsiteX4" fmla="*/ 0 w 1995342"/>
              <a:gd name="connsiteY4" fmla="*/ 0 h 690843"/>
              <a:gd name="connsiteX0" fmla="*/ 26571 w 1995342"/>
              <a:gd name="connsiteY0" fmla="*/ 15898 h 636970"/>
              <a:gd name="connsiteX1" fmla="*/ 1427711 w 1995342"/>
              <a:gd name="connsiteY1" fmla="*/ 0 h 636970"/>
              <a:gd name="connsiteX2" fmla="*/ 1995342 w 1995342"/>
              <a:gd name="connsiteY2" fmla="*/ 636970 h 636970"/>
              <a:gd name="connsiteX3" fmla="*/ 0 w 1995342"/>
              <a:gd name="connsiteY3" fmla="*/ 636970 h 636970"/>
              <a:gd name="connsiteX4" fmla="*/ 26571 w 1995342"/>
              <a:gd name="connsiteY4" fmla="*/ 15898 h 636970"/>
              <a:gd name="connsiteX0" fmla="*/ 0 w 1995342"/>
              <a:gd name="connsiteY0" fmla="*/ 0 h 640502"/>
              <a:gd name="connsiteX1" fmla="*/ 1427711 w 1995342"/>
              <a:gd name="connsiteY1" fmla="*/ 3532 h 640502"/>
              <a:gd name="connsiteX2" fmla="*/ 1995342 w 1995342"/>
              <a:gd name="connsiteY2" fmla="*/ 640502 h 640502"/>
              <a:gd name="connsiteX3" fmla="*/ 0 w 1995342"/>
              <a:gd name="connsiteY3" fmla="*/ 640502 h 640502"/>
              <a:gd name="connsiteX4" fmla="*/ 0 w 1995342"/>
              <a:gd name="connsiteY4" fmla="*/ 0 h 640502"/>
              <a:gd name="connsiteX0" fmla="*/ 0 w 1995342"/>
              <a:gd name="connsiteY0" fmla="*/ 0 h 640502"/>
              <a:gd name="connsiteX1" fmla="*/ 1420271 w 1995342"/>
              <a:gd name="connsiteY1" fmla="*/ 1765 h 640502"/>
              <a:gd name="connsiteX2" fmla="*/ 1995342 w 1995342"/>
              <a:gd name="connsiteY2" fmla="*/ 640502 h 640502"/>
              <a:gd name="connsiteX3" fmla="*/ 0 w 1995342"/>
              <a:gd name="connsiteY3" fmla="*/ 640502 h 640502"/>
              <a:gd name="connsiteX4" fmla="*/ 0 w 1995342"/>
              <a:gd name="connsiteY4" fmla="*/ 0 h 640502"/>
              <a:gd name="connsiteX0" fmla="*/ 0 w 1995342"/>
              <a:gd name="connsiteY0" fmla="*/ 0 h 640502"/>
              <a:gd name="connsiteX1" fmla="*/ 1439402 w 1995342"/>
              <a:gd name="connsiteY1" fmla="*/ 3532 h 640502"/>
              <a:gd name="connsiteX2" fmla="*/ 1995342 w 1995342"/>
              <a:gd name="connsiteY2" fmla="*/ 640502 h 640502"/>
              <a:gd name="connsiteX3" fmla="*/ 0 w 1995342"/>
              <a:gd name="connsiteY3" fmla="*/ 640502 h 640502"/>
              <a:gd name="connsiteX4" fmla="*/ 0 w 1995342"/>
              <a:gd name="connsiteY4" fmla="*/ 0 h 640502"/>
              <a:gd name="connsiteX0" fmla="*/ 0 w 1995342"/>
              <a:gd name="connsiteY0" fmla="*/ 0 h 640502"/>
              <a:gd name="connsiteX1" fmla="*/ 1441528 w 1995342"/>
              <a:gd name="connsiteY1" fmla="*/ 1765 h 640502"/>
              <a:gd name="connsiteX2" fmla="*/ 1995342 w 1995342"/>
              <a:gd name="connsiteY2" fmla="*/ 640502 h 640502"/>
              <a:gd name="connsiteX3" fmla="*/ 0 w 1995342"/>
              <a:gd name="connsiteY3" fmla="*/ 640502 h 640502"/>
              <a:gd name="connsiteX4" fmla="*/ 0 w 1995342"/>
              <a:gd name="connsiteY4" fmla="*/ 0 h 640502"/>
              <a:gd name="connsiteX0" fmla="*/ 0 w 1995342"/>
              <a:gd name="connsiteY0" fmla="*/ 0 h 640502"/>
              <a:gd name="connsiteX1" fmla="*/ 1442591 w 1995342"/>
              <a:gd name="connsiteY1" fmla="*/ 882 h 640502"/>
              <a:gd name="connsiteX2" fmla="*/ 1995342 w 1995342"/>
              <a:gd name="connsiteY2" fmla="*/ 640502 h 640502"/>
              <a:gd name="connsiteX3" fmla="*/ 0 w 1995342"/>
              <a:gd name="connsiteY3" fmla="*/ 640502 h 640502"/>
              <a:gd name="connsiteX4" fmla="*/ 0 w 1995342"/>
              <a:gd name="connsiteY4" fmla="*/ 0 h 6405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95342" h="640502">
                <a:moveTo>
                  <a:pt x="0" y="0"/>
                </a:moveTo>
                <a:lnTo>
                  <a:pt x="1442591" y="882"/>
                </a:lnTo>
                <a:lnTo>
                  <a:pt x="1995342" y="640502"/>
                </a:lnTo>
                <a:lnTo>
                  <a:pt x="0" y="640502"/>
                </a:lnTo>
                <a:lnTo>
                  <a:pt x="0" y="0"/>
                </a:lnTo>
                <a:close/>
              </a:path>
            </a:pathLst>
          </a:custGeom>
          <a:ln>
            <a:noFill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sz="1100" dirty="0"/>
          </a:p>
        </p:txBody>
      </p:sp>
    </p:spTree>
    <p:extLst>
      <p:ext uri="{BB962C8B-B14F-4D97-AF65-F5344CB8AC3E}">
        <p14:creationId xmlns:p14="http://schemas.microsoft.com/office/powerpoint/2010/main" val="30566683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ject 3"/>
          <p:cNvSpPr txBox="1"/>
          <p:nvPr/>
        </p:nvSpPr>
        <p:spPr>
          <a:xfrm>
            <a:off x="4735067" y="1909896"/>
            <a:ext cx="2743200" cy="3211195"/>
          </a:xfrm>
          <a:prstGeom prst="rect">
            <a:avLst/>
          </a:prstGeom>
          <a:solidFill>
            <a:srgbClr val="F4F4F4"/>
          </a:solidFill>
        </p:spPr>
        <p:txBody>
          <a:bodyPr vert="horz" wrap="square" lIns="0" tIns="1905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21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 New Roman"/>
              <a:ea typeface="+mn-ea"/>
              <a:cs typeface="Times New Roman"/>
            </a:endParaRPr>
          </a:p>
          <a:p>
            <a:pPr marL="755650" marR="749300" lvl="0" indent="28765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800" b="1" i="0" u="none" strike="noStrike" kern="1200" cap="none" spc="-5" normalizeH="0" baseline="0" noProof="0" dirty="0">
                <a:ln>
                  <a:noFill/>
                </a:ln>
                <a:solidFill>
                  <a:srgbClr val="417865"/>
                </a:solidFill>
                <a:effectLst/>
                <a:uLnTx/>
                <a:uFillTx/>
                <a:latin typeface="Century Gothic"/>
                <a:ea typeface="+mn-ea"/>
                <a:cs typeface="Century Gothic"/>
              </a:rPr>
              <a:t>FOOD </a:t>
            </a:r>
            <a:r>
              <a:rPr kumimoji="0" sz="1800" b="1" i="0" u="none" strike="noStrike" kern="1200" cap="none" spc="0" normalizeH="0" baseline="0" noProof="0" dirty="0">
                <a:ln>
                  <a:noFill/>
                </a:ln>
                <a:solidFill>
                  <a:srgbClr val="417865"/>
                </a:solidFill>
                <a:effectLst/>
                <a:uLnTx/>
                <a:uFillTx/>
                <a:latin typeface="Century Gothic"/>
                <a:ea typeface="+mn-ea"/>
                <a:cs typeface="Century Gothic"/>
              </a:rPr>
              <a:t> </a:t>
            </a:r>
            <a:r>
              <a:rPr kumimoji="0" sz="1800" b="1" i="0" u="none" strike="noStrike" kern="1200" cap="none" spc="-5" normalizeH="0" baseline="0" noProof="0" dirty="0">
                <a:ln>
                  <a:noFill/>
                </a:ln>
                <a:solidFill>
                  <a:srgbClr val="417865"/>
                </a:solidFill>
                <a:effectLst/>
                <a:uLnTx/>
                <a:uFillTx/>
                <a:latin typeface="Century Gothic"/>
                <a:ea typeface="+mn-ea"/>
                <a:cs typeface="Century Gothic"/>
              </a:rPr>
              <a:t>INSECURITY</a:t>
            </a:r>
            <a:endParaRPr kumimoji="0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/>
              <a:ea typeface="+mn-ea"/>
              <a:cs typeface="Century Gothic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7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/>
              <a:ea typeface="+mn-ea"/>
              <a:cs typeface="Century Gothic"/>
            </a:endParaRPr>
          </a:p>
          <a:p>
            <a:pPr marL="376555" marR="26670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>
                <a:tab pos="376555" algn="l"/>
                <a:tab pos="377190" algn="l"/>
              </a:tabLst>
              <a:defRPr/>
            </a:pPr>
            <a:r>
              <a:rPr kumimoji="0" sz="1800" b="0" i="0" u="none" strike="noStrike" kern="1200" cap="none" spc="-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  <a:cs typeface="Century Gothic"/>
              </a:rPr>
              <a:t>Increased </a:t>
            </a:r>
            <a:r>
              <a: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  <a:cs typeface="Century Gothic"/>
              </a:rPr>
              <a:t> </a:t>
            </a:r>
            <a:r>
              <a:rPr kumimoji="0" sz="1800" b="0" i="0" u="none" strike="noStrike" kern="1200" cap="none" spc="-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  <a:cs typeface="Century Gothic"/>
              </a:rPr>
              <a:t>dramatically </a:t>
            </a:r>
            <a:r>
              <a: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  <a:cs typeface="Century Gothic"/>
              </a:rPr>
              <a:t>and </a:t>
            </a:r>
            <a:r>
              <a:rPr kumimoji="0" sz="1800" b="0" i="0" u="none" strike="noStrike" kern="1200" cap="none" spc="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  <a:cs typeface="Century Gothic"/>
              </a:rPr>
              <a:t> </a:t>
            </a:r>
            <a:r>
              <a:rPr kumimoji="0" sz="1800" b="0" i="0" u="none" strike="noStrike" kern="1200" cap="none" spc="-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  <a:cs typeface="Century Gothic"/>
              </a:rPr>
              <a:t>remains relatively </a:t>
            </a:r>
            <a:r>
              <a: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  <a:cs typeface="Century Gothic"/>
              </a:rPr>
              <a:t> </a:t>
            </a:r>
            <a:r>
              <a:rPr kumimoji="0" sz="1800" b="0" i="0" u="none" strike="noStrike" kern="1200" cap="none" spc="-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  <a:cs typeface="Century Gothic"/>
              </a:rPr>
              <a:t>high (15%), despite </a:t>
            </a:r>
            <a:r>
              <a:rPr kumimoji="0" sz="1800" b="0" i="0" u="none" strike="noStrike" kern="1200" cap="none" spc="-484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  <a:cs typeface="Century Gothic"/>
              </a:rPr>
              <a:t> </a:t>
            </a:r>
            <a:r>
              <a:rPr kumimoji="0" sz="1800" b="0" i="0" u="none" strike="noStrike" kern="1200" cap="none" spc="-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  <a:cs typeface="Century Gothic"/>
              </a:rPr>
              <a:t>widespread </a:t>
            </a:r>
            <a:r>
              <a: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  <a:cs typeface="Century Gothic"/>
              </a:rPr>
              <a:t> </a:t>
            </a:r>
            <a:r>
              <a:rPr kumimoji="0" sz="1800" b="0" i="0" u="none" strike="noStrike" kern="1200" cap="none" spc="-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  <a:cs typeface="Century Gothic"/>
              </a:rPr>
              <a:t>awareness</a:t>
            </a:r>
            <a:r>
              <a:rPr kumimoji="0" sz="1800" b="0" i="0" u="none" strike="noStrike" kern="1200" cap="none" spc="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  <a:cs typeface="Century Gothic"/>
              </a:rPr>
              <a:t> </a:t>
            </a:r>
            <a:r>
              <a:rPr kumimoji="0" sz="1800" b="0" i="0" u="none" strike="noStrike" kern="1200" cap="none" spc="-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  <a:cs typeface="Century Gothic"/>
              </a:rPr>
              <a:t>of </a:t>
            </a:r>
            <a:r>
              <a: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  <a:cs typeface="Century Gothic"/>
              </a:rPr>
              <a:t> </a:t>
            </a:r>
            <a:r>
              <a:rPr kumimoji="0" sz="1800" b="0" i="0" u="none" strike="noStrike" kern="1200" cap="none" spc="-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  <a:cs typeface="Century Gothic"/>
              </a:rPr>
              <a:t>multiple</a:t>
            </a:r>
            <a:r>
              <a: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  <a:cs typeface="Century Gothic"/>
              </a:rPr>
              <a:t> </a:t>
            </a:r>
            <a:r>
              <a:rPr kumimoji="0" sz="1800" b="0" i="0" u="none" strike="noStrike" kern="1200" cap="none" spc="-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  <a:cs typeface="Century Gothic"/>
              </a:rPr>
              <a:t>services.</a:t>
            </a:r>
            <a:endParaRPr kumimoji="0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/>
              <a:ea typeface="+mn-ea"/>
              <a:cs typeface="Century Gothic"/>
            </a:endParaRPr>
          </a:p>
        </p:txBody>
      </p:sp>
      <p:sp>
        <p:nvSpPr>
          <p:cNvPr id="4" name="object 4"/>
          <p:cNvSpPr txBox="1"/>
          <p:nvPr/>
        </p:nvSpPr>
        <p:spPr>
          <a:xfrm>
            <a:off x="7696200" y="1909896"/>
            <a:ext cx="2743200" cy="3095078"/>
          </a:xfrm>
          <a:prstGeom prst="rect">
            <a:avLst/>
          </a:prstGeom>
          <a:solidFill>
            <a:srgbClr val="F4F4F4"/>
          </a:solidFill>
        </p:spPr>
        <p:txBody>
          <a:bodyPr vert="horz" wrap="square" lIns="0" tIns="1905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21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 New Roman"/>
              <a:ea typeface="+mn-ea"/>
              <a:cs typeface="Times New Roman"/>
            </a:endParaRPr>
          </a:p>
          <a:p>
            <a:pPr marL="755650" marR="750570" lvl="0" indent="9588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800" b="1" i="0" u="none" strike="noStrike" kern="1200" cap="none" spc="-5" normalizeH="0" baseline="0" noProof="0" dirty="0">
                <a:ln>
                  <a:noFill/>
                </a:ln>
                <a:solidFill>
                  <a:srgbClr val="417865"/>
                </a:solidFill>
                <a:effectLst/>
                <a:uLnTx/>
                <a:uFillTx/>
                <a:latin typeface="Century Gothic"/>
                <a:ea typeface="+mn-ea"/>
                <a:cs typeface="Century Gothic"/>
              </a:rPr>
              <a:t>HOUSING </a:t>
            </a:r>
            <a:r>
              <a:rPr kumimoji="0" sz="1800" b="1" i="0" u="none" strike="noStrike" kern="1200" cap="none" spc="0" normalizeH="0" baseline="0" noProof="0" dirty="0">
                <a:ln>
                  <a:noFill/>
                </a:ln>
                <a:solidFill>
                  <a:srgbClr val="417865"/>
                </a:solidFill>
                <a:effectLst/>
                <a:uLnTx/>
                <a:uFillTx/>
                <a:latin typeface="Century Gothic"/>
                <a:ea typeface="+mn-ea"/>
                <a:cs typeface="Century Gothic"/>
              </a:rPr>
              <a:t> </a:t>
            </a:r>
            <a:r>
              <a:rPr kumimoji="0" sz="1800" b="1" i="0" u="none" strike="noStrike" kern="1200" cap="none" spc="-5" normalizeH="0" baseline="0" noProof="0" dirty="0">
                <a:ln>
                  <a:noFill/>
                </a:ln>
                <a:solidFill>
                  <a:srgbClr val="417865"/>
                </a:solidFill>
                <a:effectLst/>
                <a:uLnTx/>
                <a:uFillTx/>
                <a:latin typeface="Century Gothic"/>
                <a:ea typeface="+mn-ea"/>
                <a:cs typeface="Century Gothic"/>
              </a:rPr>
              <a:t>INSECURITY</a:t>
            </a:r>
            <a:endParaRPr kumimoji="0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/>
              <a:ea typeface="+mn-ea"/>
              <a:cs typeface="Century Gothic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7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/>
              <a:ea typeface="+mn-ea"/>
              <a:cs typeface="Century Gothic"/>
            </a:endParaRPr>
          </a:p>
          <a:p>
            <a:pPr marL="376555" marR="22352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>
                <a:tab pos="376555" algn="l"/>
                <a:tab pos="377190" algn="l"/>
              </a:tabLst>
              <a:defRPr/>
            </a:pPr>
            <a:r>
              <a:rPr kumimoji="0" sz="1800" b="0" i="0" u="none" strike="noStrike" kern="1200" cap="none" spc="-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  <a:cs typeface="Century Gothic"/>
              </a:rPr>
              <a:t>Affects one-third of </a:t>
            </a:r>
            <a:r>
              <a:rPr kumimoji="0" sz="1800" b="0" i="0" u="none" strike="noStrike" kern="1200" cap="none" spc="-484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  <a:cs typeface="Century Gothic"/>
              </a:rPr>
              <a:t> </a:t>
            </a:r>
            <a:r>
              <a:rPr kumimoji="0" sz="1800" b="0" i="0" u="none" strike="noStrike" kern="1200" cap="none" spc="-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  <a:cs typeface="Century Gothic"/>
              </a:rPr>
              <a:t>renters</a:t>
            </a:r>
            <a:r>
              <a: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  <a:cs typeface="Century Gothic"/>
              </a:rPr>
              <a:t> </a:t>
            </a:r>
            <a:r>
              <a:rPr kumimoji="0" sz="1800" b="0" i="0" u="none" strike="noStrike" kern="1200" cap="none" spc="-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  <a:cs typeface="Century Gothic"/>
              </a:rPr>
              <a:t>(30-35%), </a:t>
            </a:r>
            <a:r>
              <a: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  <a:cs typeface="Century Gothic"/>
              </a:rPr>
              <a:t> </a:t>
            </a:r>
            <a:r>
              <a:rPr kumimoji="0" sz="1800" b="0" i="0" u="none" strike="noStrike" kern="1200" cap="none" spc="-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  <a:cs typeface="Century Gothic"/>
              </a:rPr>
              <a:t>with</a:t>
            </a:r>
            <a:r>
              <a: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  <a:cs typeface="Century Gothic"/>
              </a:rPr>
              <a:t> </a:t>
            </a:r>
            <a:r>
              <a:rPr kumimoji="0" sz="1800" b="0" i="0" u="none" strike="noStrike" kern="1200" cap="none" spc="-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  <a:cs typeface="Century Gothic"/>
              </a:rPr>
              <a:t>a small</a:t>
            </a:r>
            <a:r>
              <a: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  <a:cs typeface="Century Gothic"/>
              </a:rPr>
              <a:t> </a:t>
            </a:r>
            <a:r>
              <a:rPr kumimoji="0" sz="1800" b="0" i="0" u="none" strike="noStrike" kern="1200" cap="none" spc="-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  <a:cs typeface="Century Gothic"/>
              </a:rPr>
              <a:t>but </a:t>
            </a:r>
            <a:r>
              <a: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  <a:cs typeface="Century Gothic"/>
              </a:rPr>
              <a:t> </a:t>
            </a:r>
            <a:r>
              <a:rPr kumimoji="0" sz="1800" b="0" i="0" u="none" strike="noStrike" kern="1200" cap="none" spc="-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  <a:cs typeface="Century Gothic"/>
              </a:rPr>
              <a:t>meaningful portion </a:t>
            </a:r>
            <a:r>
              <a:rPr kumimoji="0" sz="1800" b="0" i="0" u="none" strike="noStrike" kern="1200" cap="none" spc="-484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  <a:cs typeface="Century Gothic"/>
              </a:rPr>
              <a:t> </a:t>
            </a:r>
            <a:r>
              <a:rPr kumimoji="0" sz="1800" b="0" i="0" u="none" strike="noStrike" kern="1200" cap="none" spc="-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  <a:cs typeface="Century Gothic"/>
              </a:rPr>
              <a:t>(7%) under eviction </a:t>
            </a:r>
            <a:r>
              <a:rPr kumimoji="0" sz="1800" b="0" i="0" u="none" strike="noStrike" kern="1200" cap="none" spc="-484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  <a:cs typeface="Century Gothic"/>
              </a:rPr>
              <a:t> </a:t>
            </a:r>
            <a:r>
              <a:rPr kumimoji="0" sz="1800" b="0" i="0" u="none" strike="noStrike" kern="1200" cap="none" spc="-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  <a:cs typeface="Century Gothic"/>
              </a:rPr>
              <a:t>threat</a:t>
            </a:r>
            <a:r>
              <a:rPr kumimoji="0" sz="1800" b="0" i="0" u="none" strike="noStrike" kern="1200" cap="none" spc="-5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  <a:cs typeface="Century Gothic"/>
              </a:rPr>
              <a:t>.</a:t>
            </a:r>
            <a:endParaRPr kumimoji="0" lang="en-US" sz="1800" b="0" i="0" u="none" strike="noStrike" kern="1200" cap="none" spc="-5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/>
              <a:ea typeface="+mn-ea"/>
              <a:cs typeface="Century Gothic"/>
            </a:endParaRPr>
          </a:p>
          <a:p>
            <a:pPr marL="376555" marR="22352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>
                <a:tab pos="376555" algn="l"/>
                <a:tab pos="377190" algn="l"/>
              </a:tabLst>
              <a:defRPr/>
            </a:pPr>
            <a:endParaRPr kumimoji="0" lang="en-US" sz="1800" b="0" i="0" u="none" strike="noStrike" kern="1200" cap="none" spc="-5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/>
              <a:ea typeface="+mn-ea"/>
              <a:cs typeface="Century Gothic"/>
            </a:endParaRPr>
          </a:p>
        </p:txBody>
      </p:sp>
      <p:sp>
        <p:nvSpPr>
          <p:cNvPr id="5" name="object 5"/>
          <p:cNvSpPr txBox="1"/>
          <p:nvPr/>
        </p:nvSpPr>
        <p:spPr>
          <a:xfrm>
            <a:off x="1768602" y="1888559"/>
            <a:ext cx="2743200" cy="3175228"/>
          </a:xfrm>
          <a:prstGeom prst="rect">
            <a:avLst/>
          </a:prstGeom>
          <a:solidFill>
            <a:srgbClr val="F4F4F4"/>
          </a:solidFill>
        </p:spPr>
        <p:txBody>
          <a:bodyPr vert="horz" wrap="square" lIns="0" tIns="508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4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26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 New Roman"/>
              <a:ea typeface="+mn-ea"/>
              <a:cs typeface="Times New Roman"/>
            </a:endParaRPr>
          </a:p>
          <a:p>
            <a:pPr marL="755650" marR="667385" lvl="0" indent="-825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800" b="1" i="0" u="none" strike="noStrike" kern="1200" cap="none" spc="-5" normalizeH="0" baseline="0" noProof="0" dirty="0">
                <a:ln>
                  <a:noFill/>
                </a:ln>
                <a:solidFill>
                  <a:srgbClr val="417865"/>
                </a:solidFill>
                <a:effectLst/>
                <a:uLnTx/>
                <a:uFillTx/>
                <a:latin typeface="Century Gothic"/>
                <a:ea typeface="+mn-ea"/>
                <a:cs typeface="Century Gothic"/>
              </a:rPr>
              <a:t>HEALTHCARE  INSECURITY</a:t>
            </a:r>
            <a:endParaRPr kumimoji="0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/>
              <a:ea typeface="+mn-ea"/>
              <a:cs typeface="Century Gothic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7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/>
              <a:ea typeface="+mn-ea"/>
              <a:cs typeface="Century Gothic"/>
            </a:endParaRPr>
          </a:p>
          <a:p>
            <a:pPr marL="376555" marR="256540" lvl="0" indent="-285750" algn="l" defTabSz="914400" rtl="0" eaLnBrk="1" fontAlgn="auto" latinLnBrk="0" hangingPunct="1">
              <a:lnSpc>
                <a:spcPct val="100000"/>
              </a:lnSpc>
              <a:spcBef>
                <a:spcPts val="5"/>
              </a:spcBef>
              <a:spcAft>
                <a:spcPts val="0"/>
              </a:spcAft>
              <a:buClrTx/>
              <a:buSzTx/>
              <a:buFont typeface="Arial"/>
              <a:buChar char="•"/>
              <a:tabLst>
                <a:tab pos="376555" algn="l"/>
                <a:tab pos="377190" algn="l"/>
              </a:tabLst>
              <a:defRPr/>
            </a:pPr>
            <a:r>
              <a:rPr kumimoji="0" sz="1800" b="0" i="0" u="none" strike="noStrike" kern="1200" cap="none" spc="-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  <a:cs typeface="Century Gothic"/>
              </a:rPr>
              <a:t>Always has been </a:t>
            </a:r>
            <a:r>
              <a: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  <a:cs typeface="Century Gothic"/>
              </a:rPr>
              <a:t> high</a:t>
            </a:r>
            <a:r>
              <a:rPr kumimoji="0" sz="1800" b="0" i="0" u="none" strike="noStrike" kern="1200" cap="none" spc="-1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  <a:cs typeface="Century Gothic"/>
              </a:rPr>
              <a:t> </a:t>
            </a:r>
            <a:r>
              <a:rPr kumimoji="0" sz="1800" b="0" i="0" u="none" strike="noStrike" kern="1200" cap="none" spc="-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  <a:cs typeface="Century Gothic"/>
              </a:rPr>
              <a:t>(20-25%)</a:t>
            </a:r>
            <a:r>
              <a:rPr kumimoji="0" sz="1800" b="0" i="0" u="none" strike="noStrike" kern="1200" cap="none" spc="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  <a:cs typeface="Century Gothic"/>
              </a:rPr>
              <a:t> </a:t>
            </a:r>
            <a:r>
              <a:rPr kumimoji="0" sz="1800" b="0" i="0" u="none" strike="noStrike" kern="1200" cap="none" spc="-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  <a:cs typeface="Century Gothic"/>
              </a:rPr>
              <a:t>but </a:t>
            </a:r>
            <a:r>
              <a: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  <a:cs typeface="Century Gothic"/>
              </a:rPr>
              <a:t> </a:t>
            </a:r>
            <a:r>
              <a:rPr kumimoji="0" sz="1800" b="0" i="0" u="none" strike="noStrike" kern="1200" cap="none" spc="-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  <a:cs typeface="Century Gothic"/>
              </a:rPr>
              <a:t>has not increased </a:t>
            </a:r>
            <a:r>
              <a: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  <a:cs typeface="Century Gothic"/>
              </a:rPr>
              <a:t> </a:t>
            </a:r>
            <a:r>
              <a:rPr kumimoji="0" sz="1800" b="0" i="0" u="none" strike="noStrike" kern="1200" cap="none" spc="-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  <a:cs typeface="Century Gothic"/>
              </a:rPr>
              <a:t>as much as other </a:t>
            </a:r>
            <a:r>
              <a: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  <a:cs typeface="Century Gothic"/>
              </a:rPr>
              <a:t> </a:t>
            </a:r>
            <a:r>
              <a:rPr kumimoji="0" sz="1800" b="0" i="0" u="none" strike="noStrike" kern="1200" cap="none" spc="-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  <a:cs typeface="Century Gothic"/>
              </a:rPr>
              <a:t>unmet</a:t>
            </a:r>
            <a:r>
              <a: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  <a:cs typeface="Century Gothic"/>
              </a:rPr>
              <a:t> </a:t>
            </a:r>
            <a:r>
              <a:rPr kumimoji="0" sz="1800" b="0" i="0" u="none" strike="noStrike" kern="1200" cap="none" spc="-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  <a:cs typeface="Century Gothic"/>
              </a:rPr>
              <a:t>needs since </a:t>
            </a:r>
            <a:r>
              <a:rPr kumimoji="0" sz="1800" b="0" i="0" u="none" strike="noStrike" kern="1200" cap="none" spc="-484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  <a:cs typeface="Century Gothic"/>
              </a:rPr>
              <a:t> </a:t>
            </a:r>
            <a:r>
              <a:rPr kumimoji="0" sz="1800" b="0" i="0" u="none" strike="noStrike" kern="1200" cap="none" spc="-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  <a:cs typeface="Century Gothic"/>
              </a:rPr>
              <a:t>COVID</a:t>
            </a:r>
            <a:r>
              <a:rPr kumimoji="0" sz="1800" b="0" i="0" u="none" strike="noStrike" kern="1200" cap="none" spc="-5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  <a:cs typeface="Century Gothic"/>
              </a:rPr>
              <a:t>.</a:t>
            </a:r>
            <a:endParaRPr kumimoji="0" lang="en-US" sz="1800" b="0" i="0" u="none" strike="noStrike" kern="1200" cap="none" spc="-5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/>
              <a:ea typeface="+mn-ea"/>
              <a:cs typeface="Century Gothic"/>
            </a:endParaRPr>
          </a:p>
          <a:p>
            <a:pPr marL="376555" marR="256540" lvl="0" indent="-285750" algn="l" defTabSz="914400" rtl="0" eaLnBrk="1" fontAlgn="auto" latinLnBrk="0" hangingPunct="1">
              <a:lnSpc>
                <a:spcPct val="100000"/>
              </a:lnSpc>
              <a:spcBef>
                <a:spcPts val="5"/>
              </a:spcBef>
              <a:spcAft>
                <a:spcPts val="0"/>
              </a:spcAft>
              <a:buClrTx/>
              <a:buSzTx/>
              <a:buFont typeface="Arial"/>
              <a:buChar char="•"/>
              <a:tabLst>
                <a:tab pos="376555" algn="l"/>
                <a:tab pos="377190" algn="l"/>
              </a:tabLst>
              <a:defRPr/>
            </a:pPr>
            <a:endParaRPr kumimoji="0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/>
              <a:ea typeface="+mn-ea"/>
              <a:cs typeface="Century Gothic"/>
            </a:endParaRPr>
          </a:p>
        </p:txBody>
      </p:sp>
      <p:sp>
        <p:nvSpPr>
          <p:cNvPr id="6" name="object 6"/>
          <p:cNvSpPr txBox="1"/>
          <p:nvPr/>
        </p:nvSpPr>
        <p:spPr>
          <a:xfrm>
            <a:off x="5958078" y="5246693"/>
            <a:ext cx="4481830" cy="986167"/>
          </a:xfrm>
          <a:prstGeom prst="rect">
            <a:avLst/>
          </a:prstGeom>
          <a:solidFill>
            <a:srgbClr val="F9A44A"/>
          </a:solidFill>
        </p:spPr>
        <p:txBody>
          <a:bodyPr vert="horz" wrap="square" lIns="0" tIns="153670" rIns="0" bIns="0" rtlCol="0">
            <a:spAutoFit/>
          </a:bodyPr>
          <a:lstStyle/>
          <a:p>
            <a:pPr marL="125730" marR="118745" lvl="0" indent="29845" algn="just" defTabSz="914400" rtl="0" eaLnBrk="1" fontAlgn="auto" latinLnBrk="0" hangingPunct="1">
              <a:lnSpc>
                <a:spcPct val="100000"/>
              </a:lnSpc>
              <a:spcBef>
                <a:spcPts val="121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800" b="0" i="0" u="none" strike="noStrike" kern="1200" cap="none" spc="-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  <a:cs typeface="Century Gothic"/>
              </a:rPr>
              <a:t>Spanish language respondents are six </a:t>
            </a:r>
            <a:r>
              <a:rPr kumimoji="0" sz="1800" b="0" i="0" u="none" strike="noStrike" kern="1200" cap="none" spc="-484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  <a:cs typeface="Century Gothic"/>
              </a:rPr>
              <a:t> </a:t>
            </a:r>
            <a:r>
              <a:rPr kumimoji="0" sz="1800" b="0" i="0" u="none" strike="noStrike" kern="1200" cap="none" spc="-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  <a:cs typeface="Century Gothic"/>
              </a:rPr>
              <a:t>times as likely </a:t>
            </a:r>
            <a:r>
              <a: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  <a:cs typeface="Century Gothic"/>
              </a:rPr>
              <a:t>to </a:t>
            </a:r>
            <a:r>
              <a:rPr kumimoji="0" sz="1800" b="0" i="0" u="none" strike="noStrike" kern="1200" cap="none" spc="-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  <a:cs typeface="Century Gothic"/>
              </a:rPr>
              <a:t>be food insecure </a:t>
            </a:r>
            <a:r>
              <a: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  <a:cs typeface="Century Gothic"/>
              </a:rPr>
              <a:t>and </a:t>
            </a:r>
            <a:r>
              <a:rPr kumimoji="0" sz="1800" b="0" i="0" u="none" strike="noStrike" kern="1200" cap="none" spc="-484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  <a:cs typeface="Century Gothic"/>
              </a:rPr>
              <a:t> </a:t>
            </a:r>
            <a:r>
              <a:rPr kumimoji="0" sz="1800" b="0" i="0" u="none" strike="noStrike" kern="1200" cap="none" spc="-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  <a:cs typeface="Century Gothic"/>
              </a:rPr>
              <a:t>twice</a:t>
            </a:r>
            <a:r>
              <a:rPr kumimoji="0" sz="1800" b="0" i="0" u="none" strike="noStrike" kern="1200" cap="none" spc="1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  <a:cs typeface="Century Gothic"/>
              </a:rPr>
              <a:t> </a:t>
            </a:r>
            <a:r>
              <a:rPr kumimoji="0" sz="1800" b="0" i="0" u="none" strike="noStrike" kern="1200" cap="none" spc="-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  <a:cs typeface="Century Gothic"/>
              </a:rPr>
              <a:t>as</a:t>
            </a:r>
            <a:r>
              <a: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  <a:cs typeface="Century Gothic"/>
              </a:rPr>
              <a:t> </a:t>
            </a:r>
            <a:r>
              <a:rPr kumimoji="0" sz="1800" b="0" i="0" u="none" strike="noStrike" kern="1200" cap="none" spc="-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  <a:cs typeface="Century Gothic"/>
              </a:rPr>
              <a:t>likely</a:t>
            </a:r>
            <a:r>
              <a: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  <a:cs typeface="Century Gothic"/>
              </a:rPr>
              <a:t> to</a:t>
            </a:r>
            <a:r>
              <a:rPr kumimoji="0" sz="1800" b="0" i="0" u="none" strike="noStrike" kern="1200" cap="none" spc="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  <a:cs typeface="Century Gothic"/>
              </a:rPr>
              <a:t> </a:t>
            </a:r>
            <a:r>
              <a:rPr kumimoji="0" sz="1800" b="0" i="0" u="none" strike="noStrike" kern="1200" cap="none" spc="-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  <a:cs typeface="Century Gothic"/>
              </a:rPr>
              <a:t>be</a:t>
            </a:r>
            <a:r>
              <a: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  <a:cs typeface="Century Gothic"/>
              </a:rPr>
              <a:t> </a:t>
            </a:r>
            <a:r>
              <a:rPr kumimoji="0" sz="1800" b="0" i="0" u="none" strike="noStrike" kern="1200" cap="none" spc="-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  <a:cs typeface="Century Gothic"/>
              </a:rPr>
              <a:t>housing</a:t>
            </a:r>
            <a:r>
              <a:rPr kumimoji="0" sz="1800" b="0" i="0" u="none" strike="noStrike" kern="1200" cap="none" spc="1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  <a:cs typeface="Century Gothic"/>
              </a:rPr>
              <a:t> </a:t>
            </a:r>
            <a:r>
              <a:rPr kumimoji="0" sz="1800" b="0" i="0" u="none" strike="noStrike" kern="1200" cap="none" spc="-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  <a:cs typeface="Century Gothic"/>
              </a:rPr>
              <a:t>insecure</a:t>
            </a: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/>
              <a:ea typeface="+mn-ea"/>
              <a:cs typeface="Century Gothic"/>
            </a:endParaRPr>
          </a:p>
        </p:txBody>
      </p:sp>
      <p:sp>
        <p:nvSpPr>
          <p:cNvPr id="7" name="object 7"/>
          <p:cNvSpPr/>
          <p:nvPr/>
        </p:nvSpPr>
        <p:spPr>
          <a:xfrm>
            <a:off x="5022812" y="5548687"/>
            <a:ext cx="751840" cy="527685"/>
          </a:xfrm>
          <a:custGeom>
            <a:avLst/>
            <a:gdLst/>
            <a:ahLst/>
            <a:cxnLst/>
            <a:rect l="l" t="t" r="r" b="b"/>
            <a:pathLst>
              <a:path w="751839" h="527685">
                <a:moveTo>
                  <a:pt x="469734" y="37693"/>
                </a:moveTo>
                <a:lnTo>
                  <a:pt x="466763" y="23063"/>
                </a:lnTo>
                <a:lnTo>
                  <a:pt x="458685" y="11074"/>
                </a:lnTo>
                <a:lnTo>
                  <a:pt x="446747" y="2971"/>
                </a:lnTo>
                <a:lnTo>
                  <a:pt x="432155" y="0"/>
                </a:lnTo>
                <a:lnTo>
                  <a:pt x="37579" y="0"/>
                </a:lnTo>
                <a:lnTo>
                  <a:pt x="22987" y="2971"/>
                </a:lnTo>
                <a:lnTo>
                  <a:pt x="11036" y="11074"/>
                </a:lnTo>
                <a:lnTo>
                  <a:pt x="2971" y="23063"/>
                </a:lnTo>
                <a:lnTo>
                  <a:pt x="0" y="37693"/>
                </a:lnTo>
                <a:lnTo>
                  <a:pt x="0" y="292100"/>
                </a:lnTo>
                <a:lnTo>
                  <a:pt x="2971" y="306743"/>
                </a:lnTo>
                <a:lnTo>
                  <a:pt x="11036" y="318719"/>
                </a:lnTo>
                <a:lnTo>
                  <a:pt x="22987" y="326821"/>
                </a:lnTo>
                <a:lnTo>
                  <a:pt x="37579" y="329793"/>
                </a:lnTo>
                <a:lnTo>
                  <a:pt x="93954" y="329793"/>
                </a:lnTo>
                <a:lnTo>
                  <a:pt x="93954" y="424014"/>
                </a:lnTo>
                <a:lnTo>
                  <a:pt x="187896" y="329793"/>
                </a:lnTo>
                <a:lnTo>
                  <a:pt x="244259" y="329793"/>
                </a:lnTo>
                <a:lnTo>
                  <a:pt x="244259" y="141338"/>
                </a:lnTo>
                <a:lnTo>
                  <a:pt x="250190" y="112077"/>
                </a:lnTo>
                <a:lnTo>
                  <a:pt x="266344" y="88099"/>
                </a:lnTo>
                <a:lnTo>
                  <a:pt x="290233" y="71907"/>
                </a:lnTo>
                <a:lnTo>
                  <a:pt x="319417" y="65963"/>
                </a:lnTo>
                <a:lnTo>
                  <a:pt x="469734" y="65963"/>
                </a:lnTo>
                <a:lnTo>
                  <a:pt x="469734" y="37693"/>
                </a:lnTo>
                <a:close/>
              </a:path>
              <a:path w="751839" h="527685">
                <a:moveTo>
                  <a:pt x="751560" y="141338"/>
                </a:moveTo>
                <a:lnTo>
                  <a:pt x="748601" y="126707"/>
                </a:lnTo>
                <a:lnTo>
                  <a:pt x="740524" y="114719"/>
                </a:lnTo>
                <a:lnTo>
                  <a:pt x="728573" y="106629"/>
                </a:lnTo>
                <a:lnTo>
                  <a:pt x="713994" y="103657"/>
                </a:lnTo>
                <a:lnTo>
                  <a:pt x="319417" y="103657"/>
                </a:lnTo>
                <a:lnTo>
                  <a:pt x="304825" y="106629"/>
                </a:lnTo>
                <a:lnTo>
                  <a:pt x="292874" y="114719"/>
                </a:lnTo>
                <a:lnTo>
                  <a:pt x="284810" y="126707"/>
                </a:lnTo>
                <a:lnTo>
                  <a:pt x="281838" y="141338"/>
                </a:lnTo>
                <a:lnTo>
                  <a:pt x="281838" y="395757"/>
                </a:lnTo>
                <a:lnTo>
                  <a:pt x="284810" y="410387"/>
                </a:lnTo>
                <a:lnTo>
                  <a:pt x="292874" y="422376"/>
                </a:lnTo>
                <a:lnTo>
                  <a:pt x="304825" y="430466"/>
                </a:lnTo>
                <a:lnTo>
                  <a:pt x="319417" y="433438"/>
                </a:lnTo>
                <a:lnTo>
                  <a:pt x="563676" y="433438"/>
                </a:lnTo>
                <a:lnTo>
                  <a:pt x="657618" y="527672"/>
                </a:lnTo>
                <a:lnTo>
                  <a:pt x="657618" y="433438"/>
                </a:lnTo>
                <a:lnTo>
                  <a:pt x="713994" y="433438"/>
                </a:lnTo>
                <a:lnTo>
                  <a:pt x="728573" y="430466"/>
                </a:lnTo>
                <a:lnTo>
                  <a:pt x="740524" y="422376"/>
                </a:lnTo>
                <a:lnTo>
                  <a:pt x="748601" y="410387"/>
                </a:lnTo>
                <a:lnTo>
                  <a:pt x="751560" y="395757"/>
                </a:lnTo>
                <a:lnTo>
                  <a:pt x="751560" y="141338"/>
                </a:lnTo>
                <a:close/>
              </a:path>
            </a:pathLst>
          </a:custGeom>
          <a:solidFill>
            <a:srgbClr val="D1660F"/>
          </a:solid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" name="object 8"/>
          <p:cNvSpPr txBox="1">
            <a:spLocks noGrp="1"/>
          </p:cNvSpPr>
          <p:nvPr>
            <p:ph type="ftr" sz="quarter" idx="4294967295"/>
          </p:nvPr>
        </p:nvSpPr>
        <p:spPr>
          <a:xfrm>
            <a:off x="6983260" y="6553958"/>
            <a:ext cx="5008033" cy="104516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 marR="0" lvl="0" indent="0" algn="l" defTabSz="914400" rtl="0" eaLnBrk="1" fontAlgn="auto" latinLnBrk="0" hangingPunct="1">
              <a:lnSpc>
                <a:spcPct val="100000"/>
              </a:lnSpc>
              <a:spcBef>
                <a:spcPts val="9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600" b="1" i="0" u="none" strike="noStrike" kern="1200" cap="none" spc="3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</a:rPr>
              <a:t>J</a:t>
            </a:r>
            <a:r>
              <a:rPr kumimoji="0" sz="600" b="1" i="0" u="none" strike="noStrike" kern="1200" cap="none" spc="-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</a:rPr>
              <a:t> </a:t>
            </a:r>
            <a:r>
              <a:rPr kumimoji="0" sz="600" b="1" i="0" u="none" strike="noStrike" kern="1200" cap="none" spc="3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</a:rPr>
              <a:t>O</a:t>
            </a:r>
            <a:r>
              <a:rPr kumimoji="0" sz="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</a:rPr>
              <a:t> </a:t>
            </a:r>
            <a:r>
              <a:rPr kumimoji="0" sz="600" b="1" i="0" u="none" strike="noStrike" kern="1200" cap="none" spc="3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</a:rPr>
              <a:t>H</a:t>
            </a:r>
            <a:r>
              <a:rPr kumimoji="0" sz="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</a:rPr>
              <a:t> N  </a:t>
            </a:r>
            <a:r>
              <a:rPr kumimoji="0" sz="600" b="1" i="0" u="none" strike="noStrike" kern="1200" cap="none" spc="6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</a:rPr>
              <a:t> </a:t>
            </a:r>
            <a:r>
              <a:rPr kumimoji="0" sz="600" b="1" i="0" u="none" strike="noStrike" kern="1200" cap="none" spc="3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</a:rPr>
              <a:t>W</a:t>
            </a:r>
            <a:r>
              <a:rPr kumimoji="0" sz="600" b="1" i="0" u="none" strike="noStrike" kern="1200" cap="none" spc="-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</a:rPr>
              <a:t> </a:t>
            </a:r>
            <a:r>
              <a:rPr kumimoji="0" sz="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</a:rPr>
              <a:t>.  </a:t>
            </a:r>
            <a:r>
              <a:rPr kumimoji="0" sz="600" b="1" i="0" u="none" strike="noStrike" kern="1200" cap="none" spc="4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</a:rPr>
              <a:t> </a:t>
            </a:r>
            <a:r>
              <a:rPr kumimoji="0" sz="600" b="1" i="0" u="none" strike="noStrike" kern="1200" cap="none" spc="3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</a:rPr>
              <a:t>G</a:t>
            </a:r>
            <a:r>
              <a:rPr kumimoji="0" sz="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</a:rPr>
              <a:t> </a:t>
            </a:r>
            <a:r>
              <a:rPr kumimoji="0" sz="600" b="1" i="0" u="none" strike="noStrike" kern="1200" cap="none" spc="3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</a:rPr>
              <a:t>A</a:t>
            </a:r>
            <a:r>
              <a:rPr kumimoji="0" sz="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</a:rPr>
              <a:t> </a:t>
            </a:r>
            <a:r>
              <a:rPr kumimoji="0" sz="600" b="1" i="0" u="none" strike="noStrike" kern="1200" cap="none" spc="3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</a:rPr>
              <a:t>R</a:t>
            </a:r>
            <a:r>
              <a:rPr kumimoji="0" sz="600" b="1" i="0" u="none" strike="noStrike" kern="1200" cap="none" spc="-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</a:rPr>
              <a:t> </a:t>
            </a:r>
            <a:r>
              <a:rPr kumimoji="0" sz="600" b="1" i="0" u="none" strike="noStrike" kern="1200" cap="none" spc="3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</a:rPr>
              <a:t>D</a:t>
            </a:r>
            <a:r>
              <a:rPr kumimoji="0" sz="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</a:rPr>
              <a:t> </a:t>
            </a:r>
            <a:r>
              <a:rPr kumimoji="0" sz="600" b="1" i="0" u="none" strike="noStrike" kern="1200" cap="none" spc="3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</a:rPr>
              <a:t>N</a:t>
            </a:r>
            <a:r>
              <a:rPr kumimoji="0" sz="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</a:rPr>
              <a:t> </a:t>
            </a:r>
            <a:r>
              <a:rPr kumimoji="0" sz="600" b="1" i="0" u="none" strike="noStrike" kern="1200" cap="none" spc="3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</a:rPr>
              <a:t>E</a:t>
            </a:r>
            <a:r>
              <a:rPr kumimoji="0" sz="600" b="1" i="0" u="none" strike="noStrike" kern="1200" cap="none" spc="-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</a:rPr>
              <a:t> </a:t>
            </a:r>
            <a:r>
              <a:rPr kumimoji="0" sz="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</a:rPr>
              <a:t>R  </a:t>
            </a:r>
            <a:r>
              <a:rPr kumimoji="0" sz="600" b="1" i="0" u="none" strike="noStrike" kern="1200" cap="none" spc="8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</a:rPr>
              <a:t> </a:t>
            </a:r>
            <a:r>
              <a:rPr kumimoji="0" sz="600" b="1" i="0" u="none" strike="noStrike" kern="1200" cap="none" spc="3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</a:rPr>
              <a:t>C</a:t>
            </a:r>
            <a:r>
              <a:rPr kumimoji="0" sz="600" b="1" i="0" u="none" strike="noStrike" kern="1200" cap="none" spc="-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</a:rPr>
              <a:t> </a:t>
            </a:r>
            <a:r>
              <a:rPr kumimoji="0" sz="600" b="1" i="0" u="none" strike="noStrike" kern="1200" cap="none" spc="3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</a:rPr>
              <a:t>E</a:t>
            </a:r>
            <a:r>
              <a:rPr kumimoji="0" sz="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</a:rPr>
              <a:t> </a:t>
            </a:r>
            <a:r>
              <a:rPr kumimoji="0" sz="600" b="1" i="0" u="none" strike="noStrike" kern="1200" cap="none" spc="3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</a:rPr>
              <a:t>N</a:t>
            </a:r>
            <a:r>
              <a:rPr kumimoji="0" sz="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</a:rPr>
              <a:t> </a:t>
            </a:r>
            <a:r>
              <a:rPr kumimoji="0" sz="600" b="1" i="0" u="none" strike="noStrike" kern="1200" cap="none" spc="3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</a:rPr>
              <a:t>T</a:t>
            </a:r>
            <a:r>
              <a:rPr kumimoji="0" sz="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</a:rPr>
              <a:t> </a:t>
            </a:r>
            <a:r>
              <a:rPr kumimoji="0" sz="600" b="1" i="0" u="none" strike="noStrike" kern="1200" cap="none" spc="3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</a:rPr>
              <a:t>E</a:t>
            </a:r>
            <a:r>
              <a:rPr kumimoji="0" sz="600" b="1" i="0" u="none" strike="noStrike" kern="1200" cap="none" spc="-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</a:rPr>
              <a:t> </a:t>
            </a:r>
            <a:r>
              <a:rPr kumimoji="0" sz="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</a:rPr>
              <a:t>R  </a:t>
            </a:r>
            <a:r>
              <a:rPr kumimoji="0" sz="600" b="1" i="0" u="none" strike="noStrike" kern="1200" cap="none" spc="6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</a:rPr>
              <a:t> </a:t>
            </a:r>
            <a:r>
              <a:rPr kumimoji="0" sz="600" b="1" i="0" u="none" strike="noStrike" kern="1200" cap="none" spc="3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</a:rPr>
              <a:t>F</a:t>
            </a:r>
            <a:r>
              <a:rPr kumimoji="0" sz="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</a:rPr>
              <a:t> </a:t>
            </a:r>
            <a:r>
              <a:rPr kumimoji="0" sz="600" b="1" i="0" u="none" strike="noStrike" kern="1200" cap="none" spc="3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</a:rPr>
              <a:t>O</a:t>
            </a:r>
            <a:r>
              <a:rPr kumimoji="0" sz="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</a:rPr>
              <a:t> R  </a:t>
            </a:r>
            <a:r>
              <a:rPr kumimoji="0" sz="600" b="1" i="0" u="none" strike="noStrike" kern="1200" cap="none" spc="5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</a:rPr>
              <a:t> </a:t>
            </a:r>
            <a:r>
              <a:rPr kumimoji="0" sz="600" b="1" i="0" u="none" strike="noStrike" kern="1200" cap="none" spc="3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</a:rPr>
              <a:t>Y</a:t>
            </a:r>
            <a:r>
              <a:rPr kumimoji="0" sz="600" b="1" i="0" u="none" strike="noStrike" kern="1200" cap="none" spc="-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</a:rPr>
              <a:t> </a:t>
            </a:r>
            <a:r>
              <a:rPr kumimoji="0" sz="600" b="1" i="0" u="none" strike="noStrike" kern="1200" cap="none" spc="3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</a:rPr>
              <a:t>O</a:t>
            </a:r>
            <a:r>
              <a:rPr kumimoji="0" sz="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</a:rPr>
              <a:t> </a:t>
            </a:r>
            <a:r>
              <a:rPr kumimoji="0" sz="600" b="1" i="0" u="none" strike="noStrike" kern="1200" cap="none" spc="3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</a:rPr>
              <a:t>U</a:t>
            </a:r>
            <a:r>
              <a:rPr kumimoji="0" sz="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</a:rPr>
              <a:t> </a:t>
            </a:r>
            <a:r>
              <a:rPr kumimoji="0" sz="600" b="1" i="0" u="none" strike="noStrike" kern="1200" cap="none" spc="3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</a:rPr>
              <a:t>T</a:t>
            </a:r>
            <a:r>
              <a:rPr kumimoji="0" sz="600" b="1" i="0" u="none" strike="noStrike" kern="1200" cap="none" spc="-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</a:rPr>
              <a:t> </a:t>
            </a:r>
            <a:r>
              <a:rPr kumimoji="0" sz="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</a:rPr>
              <a:t>H  </a:t>
            </a:r>
            <a:r>
              <a:rPr kumimoji="0" sz="600" b="1" i="0" u="none" strike="noStrike" kern="1200" cap="none" spc="6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</a:rPr>
              <a:t> </a:t>
            </a:r>
            <a:r>
              <a:rPr kumimoji="0" sz="600" b="1" i="0" u="none" strike="noStrike" kern="1200" cap="none" spc="3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</a:rPr>
              <a:t>A</a:t>
            </a:r>
            <a:r>
              <a:rPr kumimoji="0" sz="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</a:rPr>
              <a:t> </a:t>
            </a:r>
            <a:r>
              <a:rPr kumimoji="0" sz="600" b="1" i="0" u="none" strike="noStrike" kern="1200" cap="none" spc="3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</a:rPr>
              <a:t>N</a:t>
            </a:r>
            <a:r>
              <a:rPr kumimoji="0" sz="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</a:rPr>
              <a:t> D  </a:t>
            </a:r>
            <a:r>
              <a:rPr kumimoji="0" sz="600" b="1" i="0" u="none" strike="noStrike" kern="1200" cap="none" spc="7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</a:rPr>
              <a:t> </a:t>
            </a:r>
            <a:r>
              <a:rPr kumimoji="0" sz="600" b="1" i="0" u="none" strike="noStrike" kern="1200" cap="none" spc="3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</a:rPr>
              <a:t>T</a:t>
            </a:r>
            <a:r>
              <a:rPr kumimoji="0" sz="600" b="1" i="0" u="none" strike="noStrike" kern="1200" cap="none" spc="-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</a:rPr>
              <a:t> </a:t>
            </a:r>
            <a:r>
              <a:rPr kumimoji="0" sz="600" b="1" i="0" u="none" strike="noStrike" kern="1200" cap="none" spc="3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</a:rPr>
              <a:t>H</a:t>
            </a:r>
            <a:r>
              <a:rPr kumimoji="0" sz="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</a:rPr>
              <a:t> </a:t>
            </a:r>
            <a:r>
              <a:rPr kumimoji="0" sz="600" b="1" i="0" u="none" strike="noStrike" kern="1200" cap="none" spc="3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</a:rPr>
              <a:t>E</a:t>
            </a:r>
            <a:r>
              <a:rPr kumimoji="0" sz="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</a:rPr>
              <a:t> </a:t>
            </a:r>
            <a:r>
              <a:rPr kumimoji="0" sz="600" b="1" i="0" u="none" strike="noStrike" kern="1200" cap="none" spc="3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</a:rPr>
              <a:t>I</a:t>
            </a:r>
            <a:r>
              <a:rPr kumimoji="0" sz="600" b="1" i="0" u="none" strike="noStrike" kern="1200" cap="none" spc="-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</a:rPr>
              <a:t> </a:t>
            </a:r>
            <a:r>
              <a:rPr kumimoji="0" sz="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</a:rPr>
              <a:t>R  </a:t>
            </a:r>
            <a:r>
              <a:rPr kumimoji="0" sz="600" b="1" i="0" u="none" strike="noStrike" kern="1200" cap="none" spc="6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</a:rPr>
              <a:t> </a:t>
            </a:r>
            <a:r>
              <a:rPr kumimoji="0" sz="600" b="1" i="0" u="none" strike="noStrike" kern="1200" cap="none" spc="3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</a:rPr>
              <a:t>C</a:t>
            </a:r>
            <a:r>
              <a:rPr kumimoji="0" sz="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</a:rPr>
              <a:t> </a:t>
            </a:r>
            <a:r>
              <a:rPr kumimoji="0" sz="600" b="1" i="0" u="none" strike="noStrike" kern="1200" cap="none" spc="3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</a:rPr>
              <a:t>O</a:t>
            </a:r>
            <a:r>
              <a:rPr kumimoji="0" sz="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</a:rPr>
              <a:t> </a:t>
            </a:r>
            <a:r>
              <a:rPr kumimoji="0" sz="600" b="1" i="0" u="none" strike="noStrike" kern="1200" cap="none" spc="3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</a:rPr>
              <a:t>M</a:t>
            </a:r>
            <a:r>
              <a:rPr kumimoji="0" sz="600" b="1" i="0" u="none" strike="noStrike" kern="1200" cap="none" spc="-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</a:rPr>
              <a:t> </a:t>
            </a:r>
            <a:r>
              <a:rPr kumimoji="0" sz="600" b="1" i="0" u="none" strike="noStrike" kern="1200" cap="none" spc="3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</a:rPr>
              <a:t>M</a:t>
            </a:r>
            <a:r>
              <a:rPr kumimoji="0" sz="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</a:rPr>
              <a:t> </a:t>
            </a:r>
            <a:r>
              <a:rPr kumimoji="0" sz="600" b="1" i="0" u="none" strike="noStrike" kern="1200" cap="none" spc="3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</a:rPr>
              <a:t>U</a:t>
            </a:r>
            <a:r>
              <a:rPr kumimoji="0" sz="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</a:rPr>
              <a:t> </a:t>
            </a:r>
            <a:r>
              <a:rPr kumimoji="0" sz="600" b="1" i="0" u="none" strike="noStrike" kern="1200" cap="none" spc="3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</a:rPr>
              <a:t>N</a:t>
            </a:r>
            <a:r>
              <a:rPr kumimoji="0" sz="600" b="1" i="0" u="none" strike="noStrike" kern="1200" cap="none" spc="-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</a:rPr>
              <a:t> </a:t>
            </a:r>
            <a:r>
              <a:rPr kumimoji="0" sz="600" b="1" i="0" u="none" strike="noStrike" kern="1200" cap="none" spc="3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</a:rPr>
              <a:t>I</a:t>
            </a:r>
            <a:r>
              <a:rPr kumimoji="0" sz="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</a:rPr>
              <a:t> </a:t>
            </a:r>
            <a:r>
              <a:rPr kumimoji="0" sz="600" b="1" i="0" u="none" strike="noStrike" kern="1200" cap="none" spc="3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</a:rPr>
              <a:t>T</a:t>
            </a:r>
            <a:r>
              <a:rPr kumimoji="0" sz="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</a:rPr>
              <a:t> </a:t>
            </a:r>
            <a:r>
              <a:rPr kumimoji="0" sz="600" b="1" i="0" u="none" strike="noStrike" kern="1200" cap="none" spc="3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</a:rPr>
              <a:t>I</a:t>
            </a:r>
            <a:r>
              <a:rPr kumimoji="0" sz="600" b="1" i="0" u="none" strike="noStrike" kern="1200" cap="none" spc="-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</a:rPr>
              <a:t> </a:t>
            </a:r>
            <a:r>
              <a:rPr kumimoji="0" sz="600" b="1" i="0" u="none" strike="noStrike" kern="1200" cap="none" spc="3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</a:rPr>
              <a:t>E</a:t>
            </a:r>
            <a:r>
              <a:rPr kumimoji="0" sz="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</a:rPr>
              <a:t> S</a:t>
            </a:r>
            <a:r>
              <a:rPr kumimoji="0" sz="600" b="1" i="0" u="none" strike="noStrike" kern="1200" cap="none" spc="3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</a:rPr>
              <a:t> 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199696" y="6421550"/>
            <a:ext cx="389478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ource:  </a:t>
            </a:r>
            <a:r>
              <a:rPr kumimoji="0" 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  <a:hlinkClick r:id="rId3"/>
              </a:rPr>
              <a:t>Community Survey conducted spring 2021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BF518A3A-ECE0-42A2-BD7B-43096BD7B6FA}"/>
              </a:ext>
            </a:extLst>
          </p:cNvPr>
          <p:cNvSpPr/>
          <p:nvPr/>
        </p:nvSpPr>
        <p:spPr>
          <a:xfrm>
            <a:off x="366852" y="195954"/>
            <a:ext cx="11458296" cy="1132100"/>
          </a:xfrm>
          <a:prstGeom prst="rect">
            <a:avLst/>
          </a:prstGeom>
          <a:solidFill>
            <a:srgbClr val="006633"/>
          </a:solidFill>
          <a:ln>
            <a:noFill/>
          </a:ln>
          <a:effectLst/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/>
          </a:p>
        </p:txBody>
      </p:sp>
      <p:sp>
        <p:nvSpPr>
          <p:cNvPr id="17" name="Rectangle 9">
            <a:extLst>
              <a:ext uri="{FF2B5EF4-FFF2-40B4-BE49-F238E27FC236}">
                <a16:creationId xmlns:a16="http://schemas.microsoft.com/office/drawing/2014/main" id="{29C5912D-DD36-465B-BD92-BB0220505875}"/>
              </a:ext>
            </a:extLst>
          </p:cNvPr>
          <p:cNvSpPr/>
          <p:nvPr/>
        </p:nvSpPr>
        <p:spPr>
          <a:xfrm rot="10800000" flipH="1">
            <a:off x="366852" y="195954"/>
            <a:ext cx="1788160" cy="1132099"/>
          </a:xfrm>
          <a:custGeom>
            <a:avLst/>
            <a:gdLst>
              <a:gd name="connsiteX0" fmla="*/ 0 w 1995342"/>
              <a:gd name="connsiteY0" fmla="*/ 0 h 690843"/>
              <a:gd name="connsiteX1" fmla="*/ 1995342 w 1995342"/>
              <a:gd name="connsiteY1" fmla="*/ 0 h 690843"/>
              <a:gd name="connsiteX2" fmla="*/ 1995342 w 1995342"/>
              <a:gd name="connsiteY2" fmla="*/ 690843 h 690843"/>
              <a:gd name="connsiteX3" fmla="*/ 0 w 1995342"/>
              <a:gd name="connsiteY3" fmla="*/ 690843 h 690843"/>
              <a:gd name="connsiteX4" fmla="*/ 0 w 1995342"/>
              <a:gd name="connsiteY4" fmla="*/ 0 h 690843"/>
              <a:gd name="connsiteX0" fmla="*/ 0 w 1995342"/>
              <a:gd name="connsiteY0" fmla="*/ 0 h 690843"/>
              <a:gd name="connsiteX1" fmla="*/ 1375630 w 1995342"/>
              <a:gd name="connsiteY1" fmla="*/ 0 h 690843"/>
              <a:gd name="connsiteX2" fmla="*/ 1995342 w 1995342"/>
              <a:gd name="connsiteY2" fmla="*/ 690843 h 690843"/>
              <a:gd name="connsiteX3" fmla="*/ 0 w 1995342"/>
              <a:gd name="connsiteY3" fmla="*/ 690843 h 690843"/>
              <a:gd name="connsiteX4" fmla="*/ 0 w 1995342"/>
              <a:gd name="connsiteY4" fmla="*/ 0 h 690843"/>
              <a:gd name="connsiteX0" fmla="*/ 0 w 1995342"/>
              <a:gd name="connsiteY0" fmla="*/ 0 h 690843"/>
              <a:gd name="connsiteX1" fmla="*/ 1427711 w 1995342"/>
              <a:gd name="connsiteY1" fmla="*/ 53873 h 690843"/>
              <a:gd name="connsiteX2" fmla="*/ 1995342 w 1995342"/>
              <a:gd name="connsiteY2" fmla="*/ 690843 h 690843"/>
              <a:gd name="connsiteX3" fmla="*/ 0 w 1995342"/>
              <a:gd name="connsiteY3" fmla="*/ 690843 h 690843"/>
              <a:gd name="connsiteX4" fmla="*/ 0 w 1995342"/>
              <a:gd name="connsiteY4" fmla="*/ 0 h 690843"/>
              <a:gd name="connsiteX0" fmla="*/ 26571 w 1995342"/>
              <a:gd name="connsiteY0" fmla="*/ 15898 h 636970"/>
              <a:gd name="connsiteX1" fmla="*/ 1427711 w 1995342"/>
              <a:gd name="connsiteY1" fmla="*/ 0 h 636970"/>
              <a:gd name="connsiteX2" fmla="*/ 1995342 w 1995342"/>
              <a:gd name="connsiteY2" fmla="*/ 636970 h 636970"/>
              <a:gd name="connsiteX3" fmla="*/ 0 w 1995342"/>
              <a:gd name="connsiteY3" fmla="*/ 636970 h 636970"/>
              <a:gd name="connsiteX4" fmla="*/ 26571 w 1995342"/>
              <a:gd name="connsiteY4" fmla="*/ 15898 h 636970"/>
              <a:gd name="connsiteX0" fmla="*/ 0 w 1995342"/>
              <a:gd name="connsiteY0" fmla="*/ 0 h 640502"/>
              <a:gd name="connsiteX1" fmla="*/ 1427711 w 1995342"/>
              <a:gd name="connsiteY1" fmla="*/ 3532 h 640502"/>
              <a:gd name="connsiteX2" fmla="*/ 1995342 w 1995342"/>
              <a:gd name="connsiteY2" fmla="*/ 640502 h 640502"/>
              <a:gd name="connsiteX3" fmla="*/ 0 w 1995342"/>
              <a:gd name="connsiteY3" fmla="*/ 640502 h 640502"/>
              <a:gd name="connsiteX4" fmla="*/ 0 w 1995342"/>
              <a:gd name="connsiteY4" fmla="*/ 0 h 640502"/>
              <a:gd name="connsiteX0" fmla="*/ 0 w 1995342"/>
              <a:gd name="connsiteY0" fmla="*/ 0 h 640502"/>
              <a:gd name="connsiteX1" fmla="*/ 1420271 w 1995342"/>
              <a:gd name="connsiteY1" fmla="*/ 1765 h 640502"/>
              <a:gd name="connsiteX2" fmla="*/ 1995342 w 1995342"/>
              <a:gd name="connsiteY2" fmla="*/ 640502 h 640502"/>
              <a:gd name="connsiteX3" fmla="*/ 0 w 1995342"/>
              <a:gd name="connsiteY3" fmla="*/ 640502 h 640502"/>
              <a:gd name="connsiteX4" fmla="*/ 0 w 1995342"/>
              <a:gd name="connsiteY4" fmla="*/ 0 h 640502"/>
              <a:gd name="connsiteX0" fmla="*/ 0 w 1995342"/>
              <a:gd name="connsiteY0" fmla="*/ 0 h 640502"/>
              <a:gd name="connsiteX1" fmla="*/ 1439402 w 1995342"/>
              <a:gd name="connsiteY1" fmla="*/ 3532 h 640502"/>
              <a:gd name="connsiteX2" fmla="*/ 1995342 w 1995342"/>
              <a:gd name="connsiteY2" fmla="*/ 640502 h 640502"/>
              <a:gd name="connsiteX3" fmla="*/ 0 w 1995342"/>
              <a:gd name="connsiteY3" fmla="*/ 640502 h 640502"/>
              <a:gd name="connsiteX4" fmla="*/ 0 w 1995342"/>
              <a:gd name="connsiteY4" fmla="*/ 0 h 640502"/>
              <a:gd name="connsiteX0" fmla="*/ 0 w 1995342"/>
              <a:gd name="connsiteY0" fmla="*/ 0 h 640502"/>
              <a:gd name="connsiteX1" fmla="*/ 1441528 w 1995342"/>
              <a:gd name="connsiteY1" fmla="*/ 1765 h 640502"/>
              <a:gd name="connsiteX2" fmla="*/ 1995342 w 1995342"/>
              <a:gd name="connsiteY2" fmla="*/ 640502 h 640502"/>
              <a:gd name="connsiteX3" fmla="*/ 0 w 1995342"/>
              <a:gd name="connsiteY3" fmla="*/ 640502 h 640502"/>
              <a:gd name="connsiteX4" fmla="*/ 0 w 1995342"/>
              <a:gd name="connsiteY4" fmla="*/ 0 h 640502"/>
              <a:gd name="connsiteX0" fmla="*/ 0 w 1995342"/>
              <a:gd name="connsiteY0" fmla="*/ 0 h 640502"/>
              <a:gd name="connsiteX1" fmla="*/ 1442591 w 1995342"/>
              <a:gd name="connsiteY1" fmla="*/ 882 h 640502"/>
              <a:gd name="connsiteX2" fmla="*/ 1995342 w 1995342"/>
              <a:gd name="connsiteY2" fmla="*/ 640502 h 640502"/>
              <a:gd name="connsiteX3" fmla="*/ 0 w 1995342"/>
              <a:gd name="connsiteY3" fmla="*/ 640502 h 640502"/>
              <a:gd name="connsiteX4" fmla="*/ 0 w 1995342"/>
              <a:gd name="connsiteY4" fmla="*/ 0 h 6405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95342" h="640502">
                <a:moveTo>
                  <a:pt x="0" y="0"/>
                </a:moveTo>
                <a:lnTo>
                  <a:pt x="1442591" y="882"/>
                </a:lnTo>
                <a:lnTo>
                  <a:pt x="1995342" y="640502"/>
                </a:lnTo>
                <a:lnTo>
                  <a:pt x="0" y="640502"/>
                </a:lnTo>
                <a:lnTo>
                  <a:pt x="0" y="0"/>
                </a:lnTo>
                <a:close/>
              </a:path>
            </a:pathLst>
          </a:custGeom>
          <a:ln>
            <a:noFill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sz="1100" dirty="0"/>
          </a:p>
        </p:txBody>
      </p:sp>
      <p:sp>
        <p:nvSpPr>
          <p:cNvPr id="16" name="Title 1"/>
          <p:cNvSpPr txBox="1">
            <a:spLocks/>
          </p:cNvSpPr>
          <p:nvPr/>
        </p:nvSpPr>
        <p:spPr>
          <a:xfrm>
            <a:off x="733704" y="366564"/>
            <a:ext cx="10515600" cy="961490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sz="3600" b="1" dirty="0" smtClean="0">
                <a:solidFill>
                  <a:schemeClr val="bg1"/>
                </a:solidFill>
                <a:effectLst>
                  <a:outerShdw blurRad="50800" dist="50800" dir="5400000" algn="ctr" rotWithShape="0">
                    <a:srgbClr val="000000">
                      <a:alpha val="43137"/>
                    </a:srgbClr>
                  </a:outerShdw>
                </a:effectLst>
                <a:latin typeface="Franklin Gothic Book" panose="020B0503020102020204" pitchFamily="34" charset="0"/>
              </a:rPr>
              <a:t>Redwood City &amp; North Fair Oaks Community Needs Assessment:  Key Takeaways</a:t>
            </a:r>
            <a:endParaRPr lang="en-US" sz="3600" b="1" dirty="0">
              <a:solidFill>
                <a:schemeClr val="bg1"/>
              </a:solidFill>
              <a:effectLst>
                <a:outerShdw blurRad="50800" dist="50800" dir="5400000" algn="ctr" rotWithShape="0">
                  <a:srgbClr val="000000">
                    <a:alpha val="43137"/>
                  </a:srgbClr>
                </a:outerShdw>
              </a:effectLst>
              <a:latin typeface="Franklin Gothic Book" panose="020B05030201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520212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ject 3"/>
          <p:cNvSpPr txBox="1"/>
          <p:nvPr/>
        </p:nvSpPr>
        <p:spPr>
          <a:xfrm>
            <a:off x="2438400" y="2138283"/>
            <a:ext cx="2743200" cy="3633687"/>
          </a:xfrm>
          <a:prstGeom prst="rect">
            <a:avLst/>
          </a:prstGeom>
          <a:solidFill>
            <a:srgbClr val="F4F4F4"/>
          </a:solidFill>
        </p:spPr>
        <p:txBody>
          <a:bodyPr vert="horz" wrap="square" lIns="0" tIns="1905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21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 New Roman"/>
              <a:ea typeface="+mn-ea"/>
              <a:cs typeface="Times New Roman"/>
            </a:endParaRPr>
          </a:p>
          <a:p>
            <a:pPr marL="553085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800" b="1" i="0" u="none" strike="noStrike" kern="1200" cap="none" spc="0" normalizeH="0" baseline="0" noProof="0" dirty="0">
                <a:ln>
                  <a:noFill/>
                </a:ln>
                <a:solidFill>
                  <a:srgbClr val="417865"/>
                </a:solidFill>
                <a:effectLst/>
                <a:uLnTx/>
                <a:uFillTx/>
                <a:latin typeface="Century Gothic"/>
                <a:ea typeface="+mn-ea"/>
                <a:cs typeface="Century Gothic"/>
              </a:rPr>
              <a:t>DIGITAL</a:t>
            </a:r>
            <a:r>
              <a:rPr kumimoji="0" sz="1800" b="1" i="0" u="none" strike="noStrike" kern="1200" cap="none" spc="-50" normalizeH="0" baseline="0" noProof="0" dirty="0">
                <a:ln>
                  <a:noFill/>
                </a:ln>
                <a:solidFill>
                  <a:srgbClr val="417865"/>
                </a:solidFill>
                <a:effectLst/>
                <a:uLnTx/>
                <a:uFillTx/>
                <a:latin typeface="Century Gothic"/>
                <a:ea typeface="+mn-ea"/>
                <a:cs typeface="Century Gothic"/>
              </a:rPr>
              <a:t> </a:t>
            </a:r>
            <a:r>
              <a:rPr kumimoji="0" sz="1800" b="1" i="0" u="none" strike="noStrike" kern="1200" cap="none" spc="-5" normalizeH="0" baseline="0" noProof="0" dirty="0">
                <a:ln>
                  <a:noFill/>
                </a:ln>
                <a:solidFill>
                  <a:srgbClr val="417865"/>
                </a:solidFill>
                <a:effectLst/>
                <a:uLnTx/>
                <a:uFillTx/>
                <a:latin typeface="Century Gothic"/>
                <a:ea typeface="+mn-ea"/>
                <a:cs typeface="Century Gothic"/>
              </a:rPr>
              <a:t>DIVIDE</a:t>
            </a:r>
            <a:endParaRPr kumimoji="0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/>
              <a:ea typeface="+mn-ea"/>
              <a:cs typeface="Century Gothic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7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/>
              <a:ea typeface="+mn-ea"/>
              <a:cs typeface="Century Gothic"/>
            </a:endParaRPr>
          </a:p>
          <a:p>
            <a:pPr marL="91440" marR="30607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800" b="0" i="0" u="none" strike="noStrike" kern="1200" cap="none" spc="-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  <a:cs typeface="Century Gothic"/>
              </a:rPr>
              <a:t>Most</a:t>
            </a:r>
            <a:r>
              <a:rPr kumimoji="0" sz="1800" b="0" i="0" u="none" strike="noStrike" kern="1200" cap="none" spc="-3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  <a:cs typeface="Century Gothic"/>
              </a:rPr>
              <a:t> </a:t>
            </a:r>
            <a:r>
              <a:rPr kumimoji="0" sz="1800" b="0" i="0" u="none" strike="noStrike" kern="1200" cap="none" spc="-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  <a:cs typeface="Century Gothic"/>
              </a:rPr>
              <a:t>pronounced</a:t>
            </a:r>
            <a:r>
              <a:rPr kumimoji="0" sz="1800" b="0" i="0" u="none" strike="noStrike" kern="1200" cap="none" spc="-2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  <a:cs typeface="Century Gothic"/>
              </a:rPr>
              <a:t> </a:t>
            </a:r>
            <a:r>
              <a:rPr kumimoji="0" sz="1800" b="0" i="0" u="none" strike="noStrike" kern="1200" cap="none" spc="-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  <a:cs typeface="Century Gothic"/>
              </a:rPr>
              <a:t>for </a:t>
            </a:r>
            <a:r>
              <a:rPr kumimoji="0" sz="1800" b="0" i="0" u="none" strike="noStrike" kern="1200" cap="none" spc="-484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  <a:cs typeface="Century Gothic"/>
              </a:rPr>
              <a:t> </a:t>
            </a:r>
            <a:r>
              <a:rPr kumimoji="0" sz="1800" b="0" i="0" u="none" strike="noStrike" kern="1200" cap="none" spc="-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  <a:cs typeface="Century Gothic"/>
              </a:rPr>
              <a:t>high-quality </a:t>
            </a:r>
            <a:r>
              <a: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  <a:cs typeface="Century Gothic"/>
              </a:rPr>
              <a:t> </a:t>
            </a:r>
            <a:r>
              <a:rPr kumimoji="0" sz="1800" b="0" i="0" u="none" strike="noStrike" kern="1200" cap="none" spc="-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  <a:cs typeface="Century Gothic"/>
              </a:rPr>
              <a:t>technology,</a:t>
            </a:r>
            <a:r>
              <a:rPr kumimoji="0" sz="1800" b="0" i="0" u="none" strike="noStrike" kern="1200" cap="none" spc="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  <a:cs typeface="Century Gothic"/>
              </a:rPr>
              <a:t> </a:t>
            </a:r>
            <a:r>
              <a:rPr kumimoji="0" sz="1800" b="0" i="0" u="none" strike="noStrike" kern="1200" cap="none" spc="-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  <a:cs typeface="Century Gothic"/>
              </a:rPr>
              <a:t>for </a:t>
            </a:r>
            <a:r>
              <a: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  <a:cs typeface="Century Gothic"/>
              </a:rPr>
              <a:t> </a:t>
            </a:r>
            <a:r>
              <a:rPr kumimoji="0" sz="1800" b="0" i="0" u="none" strike="noStrike" kern="1200" cap="none" spc="-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  <a:cs typeface="Century Gothic"/>
              </a:rPr>
              <a:t>example:</a:t>
            </a:r>
            <a:endParaRPr kumimoji="0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/>
              <a:ea typeface="+mn-ea"/>
              <a:cs typeface="Century Gothic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7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/>
              <a:ea typeface="+mn-ea"/>
              <a:cs typeface="Century Gothic"/>
            </a:endParaRPr>
          </a:p>
          <a:p>
            <a:pPr marL="377190" marR="51943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>
                <a:tab pos="376555" algn="l"/>
                <a:tab pos="377190" algn="l"/>
              </a:tabLst>
              <a:defRPr/>
            </a:pPr>
            <a:r>
              <a: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  <a:cs typeface="Century Gothic"/>
              </a:rPr>
              <a:t>Lack </a:t>
            </a:r>
            <a:r>
              <a:rPr kumimoji="0" sz="1800" b="0" i="0" u="none" strike="noStrike" kern="1200" cap="none" spc="-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  <a:cs typeface="Century Gothic"/>
              </a:rPr>
              <a:t>of installed </a:t>
            </a:r>
            <a:r>
              <a:rPr kumimoji="0" sz="1800" b="0" i="0" u="none" strike="noStrike" kern="1200" cap="none" spc="-484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  <a:cs typeface="Century Gothic"/>
              </a:rPr>
              <a:t> </a:t>
            </a:r>
            <a:r>
              <a:rPr kumimoji="0" sz="1800" b="0" i="0" u="none" strike="noStrike" kern="1200" cap="none" spc="-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  <a:cs typeface="Century Gothic"/>
              </a:rPr>
              <a:t>internet</a:t>
            </a:r>
            <a:r>
              <a:rPr kumimoji="0" sz="1800" b="0" i="0" u="none" strike="noStrike" kern="1200" cap="none" spc="-3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  <a:cs typeface="Century Gothic"/>
              </a:rPr>
              <a:t> </a:t>
            </a:r>
            <a:r>
              <a:rPr kumimoji="0" sz="1800" b="0" i="0" u="none" strike="noStrike" kern="1200" cap="none" spc="-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  <a:cs typeface="Century Gothic"/>
              </a:rPr>
              <a:t>(15-30%)</a:t>
            </a:r>
            <a:endParaRPr kumimoji="0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/>
              <a:ea typeface="+mn-ea"/>
              <a:cs typeface="Century Gothic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5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endParaRPr kumimoji="0" sz="17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/>
              <a:ea typeface="+mn-ea"/>
              <a:cs typeface="Century Gothic"/>
            </a:endParaRPr>
          </a:p>
          <a:p>
            <a:pPr marL="376555" marR="26543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>
                <a:tab pos="376555" algn="l"/>
                <a:tab pos="377190" algn="l"/>
              </a:tabLst>
              <a:defRPr/>
            </a:pPr>
            <a:r>
              <a: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  <a:cs typeface="Century Gothic"/>
              </a:rPr>
              <a:t>Lack </a:t>
            </a:r>
            <a:r>
              <a:rPr kumimoji="0" sz="1800" b="0" i="0" u="none" strike="noStrike" kern="1200" cap="none" spc="-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  <a:cs typeface="Century Gothic"/>
              </a:rPr>
              <a:t>of a home </a:t>
            </a:r>
            <a:r>
              <a: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  <a:cs typeface="Century Gothic"/>
              </a:rPr>
              <a:t> </a:t>
            </a:r>
            <a:r>
              <a:rPr kumimoji="0" sz="1800" b="0" i="0" u="none" strike="noStrike" kern="1200" cap="none" spc="-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  <a:cs typeface="Century Gothic"/>
              </a:rPr>
              <a:t>computer</a:t>
            </a:r>
            <a:r>
              <a:rPr kumimoji="0" sz="1800" b="0" i="0" u="none" strike="noStrike" kern="1200" cap="none" spc="-7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  <a:cs typeface="Century Gothic"/>
              </a:rPr>
              <a:t> </a:t>
            </a:r>
            <a:r>
              <a:rPr kumimoji="0" sz="1800" b="0" i="0" u="none" strike="noStrike" kern="1200" cap="none" spc="-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  <a:cs typeface="Century Gothic"/>
              </a:rPr>
              <a:t>(20-40%)</a:t>
            </a:r>
            <a:endParaRPr kumimoji="0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/>
              <a:ea typeface="+mn-ea"/>
              <a:cs typeface="Century Gothic"/>
            </a:endParaRPr>
          </a:p>
        </p:txBody>
      </p:sp>
      <p:sp>
        <p:nvSpPr>
          <p:cNvPr id="4" name="object 4"/>
          <p:cNvSpPr txBox="1"/>
          <p:nvPr/>
        </p:nvSpPr>
        <p:spPr>
          <a:xfrm>
            <a:off x="5399532" y="2138282"/>
            <a:ext cx="2743200" cy="3633687"/>
          </a:xfrm>
          <a:prstGeom prst="rect">
            <a:avLst/>
          </a:prstGeom>
          <a:solidFill>
            <a:srgbClr val="F4F4F4"/>
          </a:solidFill>
        </p:spPr>
        <p:txBody>
          <a:bodyPr vert="horz" wrap="square" lIns="0" tIns="1905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21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 New Roman"/>
              <a:ea typeface="+mn-ea"/>
              <a:cs typeface="Times New Roman"/>
            </a:endParaRPr>
          </a:p>
          <a:p>
            <a:pPr marL="243204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800" b="1" i="0" u="none" strike="noStrike" kern="1200" cap="none" spc="-5" normalizeH="0" baseline="0" noProof="0" dirty="0">
                <a:ln>
                  <a:noFill/>
                </a:ln>
                <a:solidFill>
                  <a:srgbClr val="417865"/>
                </a:solidFill>
                <a:effectLst/>
                <a:uLnTx/>
                <a:uFillTx/>
                <a:latin typeface="Century Gothic"/>
                <a:ea typeface="+mn-ea"/>
                <a:cs typeface="Century Gothic"/>
              </a:rPr>
              <a:t>DISTANCE</a:t>
            </a:r>
            <a:r>
              <a:rPr kumimoji="0" sz="1800" b="1" i="0" u="none" strike="noStrike" kern="1200" cap="none" spc="-10" normalizeH="0" baseline="0" noProof="0" dirty="0">
                <a:ln>
                  <a:noFill/>
                </a:ln>
                <a:solidFill>
                  <a:srgbClr val="417865"/>
                </a:solidFill>
                <a:effectLst/>
                <a:uLnTx/>
                <a:uFillTx/>
                <a:latin typeface="Century Gothic"/>
                <a:ea typeface="+mn-ea"/>
                <a:cs typeface="Century Gothic"/>
              </a:rPr>
              <a:t> </a:t>
            </a:r>
            <a:r>
              <a:rPr kumimoji="0" sz="1800" b="1" i="0" u="none" strike="noStrike" kern="1200" cap="none" spc="-5" normalizeH="0" baseline="0" noProof="0" dirty="0">
                <a:ln>
                  <a:noFill/>
                </a:ln>
                <a:solidFill>
                  <a:srgbClr val="417865"/>
                </a:solidFill>
                <a:effectLst/>
                <a:uLnTx/>
                <a:uFillTx/>
                <a:latin typeface="Century Gothic"/>
                <a:ea typeface="+mn-ea"/>
                <a:cs typeface="Century Gothic"/>
              </a:rPr>
              <a:t>LEARNING</a:t>
            </a:r>
            <a:endParaRPr kumimoji="0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/>
              <a:ea typeface="+mn-ea"/>
              <a:cs typeface="Century Gothic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7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/>
              <a:ea typeface="+mn-ea"/>
              <a:cs typeface="Century Gothic"/>
            </a:endParaRPr>
          </a:p>
          <a:p>
            <a:pPr marL="90805" marR="96520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800" b="0" i="0" u="none" strike="noStrike" kern="1200" cap="none" spc="-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  <a:cs typeface="Century Gothic"/>
              </a:rPr>
              <a:t>Top</a:t>
            </a:r>
            <a:r>
              <a:rPr kumimoji="0" sz="1800" b="0" i="0" u="none" strike="noStrike" kern="1200" cap="none" spc="-5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  <a:cs typeface="Century Gothic"/>
              </a:rPr>
              <a:t> </a:t>
            </a:r>
            <a:r>
              <a:rPr kumimoji="0" sz="1800" b="0" i="0" u="none" strike="noStrike" kern="1200" cap="none" spc="-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  <a:cs typeface="Century Gothic"/>
              </a:rPr>
              <a:t>challenges </a:t>
            </a:r>
            <a:r>
              <a:rPr kumimoji="0" sz="1800" b="0" i="0" u="none" strike="noStrike" kern="1200" cap="none" spc="-484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  <a:cs typeface="Century Gothic"/>
              </a:rPr>
              <a:t> </a:t>
            </a:r>
            <a:r>
              <a:rPr kumimoji="0" sz="1800" b="0" i="0" u="none" strike="noStrike" kern="1200" cap="none" spc="-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  <a:cs typeface="Century Gothic"/>
              </a:rPr>
              <a:t>include:</a:t>
            </a:r>
            <a:endParaRPr kumimoji="0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/>
              <a:ea typeface="+mn-ea"/>
              <a:cs typeface="Century Gothic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7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/>
              <a:ea typeface="+mn-ea"/>
              <a:cs typeface="Century Gothic"/>
            </a:endParaRPr>
          </a:p>
          <a:p>
            <a:pPr marL="376555" marR="47752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>
                <a:tab pos="376555" algn="l"/>
                <a:tab pos="377190" algn="l"/>
              </a:tabLst>
              <a:defRPr/>
            </a:pPr>
            <a:r>
              <a: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  <a:cs typeface="Century Gothic"/>
              </a:rPr>
              <a:t>Lack </a:t>
            </a:r>
            <a:r>
              <a:rPr kumimoji="0" sz="1800" b="0" i="0" u="none" strike="noStrike" kern="1200" cap="none" spc="-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  <a:cs typeface="Century Gothic"/>
              </a:rPr>
              <a:t>of private </a:t>
            </a:r>
            <a:r>
              <a: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  <a:cs typeface="Century Gothic"/>
              </a:rPr>
              <a:t> </a:t>
            </a:r>
            <a:r>
              <a:rPr kumimoji="0" sz="1800" b="0" i="0" u="none" strike="noStrike" kern="1200" cap="none" spc="-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  <a:cs typeface="Century Gothic"/>
              </a:rPr>
              <a:t>workspace</a:t>
            </a:r>
            <a:r>
              <a:rPr kumimoji="0" sz="1800" b="0" i="0" u="none" strike="noStrike" kern="1200" cap="none" spc="-8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  <a:cs typeface="Century Gothic"/>
              </a:rPr>
              <a:t> </a:t>
            </a:r>
            <a:r>
              <a:rPr kumimoji="0" sz="1800" b="0" i="0" u="none" strike="noStrike" kern="1200" cap="none" spc="-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  <a:cs typeface="Century Gothic"/>
              </a:rPr>
              <a:t>(22%)</a:t>
            </a:r>
            <a:endParaRPr kumimoji="0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/>
              <a:ea typeface="+mn-ea"/>
              <a:cs typeface="Century Gothic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5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endParaRPr kumimoji="0" sz="17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/>
              <a:ea typeface="+mn-ea"/>
              <a:cs typeface="Century Gothic"/>
            </a:endParaRPr>
          </a:p>
          <a:p>
            <a:pPr marL="376555" marR="290195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>
                <a:tab pos="376555" algn="l"/>
                <a:tab pos="377190" algn="l"/>
              </a:tabLst>
              <a:defRPr/>
            </a:pPr>
            <a:r>
              <a:rPr kumimoji="0" sz="1800" b="0" i="0" u="none" strike="noStrike" kern="1200" cap="none" spc="-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  <a:cs typeface="Century Gothic"/>
              </a:rPr>
              <a:t>Insufficient support </a:t>
            </a:r>
            <a:r>
              <a:rPr kumimoji="0" sz="1800" b="0" i="0" u="none" strike="noStrike" kern="1200" cap="none" spc="-484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  <a:cs typeface="Century Gothic"/>
              </a:rPr>
              <a:t> </a:t>
            </a:r>
            <a:r>
              <a:rPr kumimoji="0" sz="1800" b="0" i="0" u="none" strike="noStrike" kern="1200" cap="none" spc="-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  <a:cs typeface="Century Gothic"/>
              </a:rPr>
              <a:t>from teachers or </a:t>
            </a:r>
            <a:r>
              <a: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  <a:cs typeface="Century Gothic"/>
              </a:rPr>
              <a:t> </a:t>
            </a:r>
            <a:r>
              <a:rPr kumimoji="0" sz="1800" b="0" i="0" u="none" strike="noStrike" kern="1200" cap="none" spc="-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  <a:cs typeface="Century Gothic"/>
              </a:rPr>
              <a:t>school</a:t>
            </a:r>
            <a:r>
              <a:rPr kumimoji="0" sz="1800" b="0" i="0" u="none" strike="noStrike" kern="1200" cap="none" spc="-1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  <a:cs typeface="Century Gothic"/>
              </a:rPr>
              <a:t> </a:t>
            </a:r>
            <a:r>
              <a:rPr kumimoji="0" sz="1800" b="0" i="0" u="none" strike="noStrike" kern="1200" cap="none" spc="-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  <a:cs typeface="Century Gothic"/>
              </a:rPr>
              <a:t>staff</a:t>
            </a:r>
            <a:r>
              <a:rPr kumimoji="0" sz="1800" b="0" i="0" u="none" strike="noStrike" kern="1200" cap="none" spc="-2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  <a:cs typeface="Century Gothic"/>
              </a:rPr>
              <a:t> </a:t>
            </a:r>
            <a:r>
              <a:rPr kumimoji="0" sz="1800" b="0" i="0" u="none" strike="noStrike" kern="1200" cap="none" spc="-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  <a:cs typeface="Century Gothic"/>
              </a:rPr>
              <a:t>(20</a:t>
            </a:r>
            <a:r>
              <a:rPr kumimoji="0" sz="1800" b="0" i="0" u="none" strike="noStrike" kern="1200" cap="none" spc="-5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  <a:cs typeface="Century Gothic"/>
              </a:rPr>
              <a:t>%)</a:t>
            </a:r>
            <a:endParaRPr kumimoji="0" lang="en-US" sz="1800" b="0" i="0" u="none" strike="noStrike" kern="1200" cap="none" spc="-5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/>
              <a:ea typeface="+mn-ea"/>
              <a:cs typeface="Century Gothic"/>
            </a:endParaRPr>
          </a:p>
          <a:p>
            <a:pPr marL="90805" marR="290195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76555" algn="l"/>
                <a:tab pos="377190" algn="l"/>
              </a:tabLst>
              <a:defRPr/>
            </a:pPr>
            <a:endParaRPr kumimoji="0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/>
              <a:ea typeface="+mn-ea"/>
              <a:cs typeface="Century Gothic"/>
            </a:endParaRPr>
          </a:p>
        </p:txBody>
      </p:sp>
      <p:sp>
        <p:nvSpPr>
          <p:cNvPr id="5" name="object 5"/>
          <p:cNvSpPr/>
          <p:nvPr/>
        </p:nvSpPr>
        <p:spPr>
          <a:xfrm>
            <a:off x="8835029" y="3183237"/>
            <a:ext cx="1278255" cy="848360"/>
          </a:xfrm>
          <a:custGeom>
            <a:avLst/>
            <a:gdLst/>
            <a:ahLst/>
            <a:cxnLst/>
            <a:rect l="l" t="t" r="r" b="b"/>
            <a:pathLst>
              <a:path w="1278254" h="848360">
                <a:moveTo>
                  <a:pt x="883069" y="433692"/>
                </a:moveTo>
                <a:lnTo>
                  <a:pt x="881151" y="414845"/>
                </a:lnTo>
                <a:lnTo>
                  <a:pt x="878065" y="384352"/>
                </a:lnTo>
                <a:lnTo>
                  <a:pt x="863803" y="338378"/>
                </a:lnTo>
                <a:lnTo>
                  <a:pt x="844537" y="302818"/>
                </a:lnTo>
                <a:lnTo>
                  <a:pt x="844537" y="414845"/>
                </a:lnTo>
                <a:lnTo>
                  <a:pt x="844537" y="452539"/>
                </a:lnTo>
                <a:lnTo>
                  <a:pt x="834212" y="500837"/>
                </a:lnTo>
                <a:lnTo>
                  <a:pt x="813320" y="544474"/>
                </a:lnTo>
                <a:lnTo>
                  <a:pt x="783158" y="581875"/>
                </a:lnTo>
                <a:lnTo>
                  <a:pt x="744969" y="611479"/>
                </a:lnTo>
                <a:lnTo>
                  <a:pt x="699985" y="631723"/>
                </a:lnTo>
                <a:lnTo>
                  <a:pt x="711466" y="617905"/>
                </a:lnTo>
                <a:lnTo>
                  <a:pt x="732053" y="593128"/>
                </a:lnTo>
                <a:lnTo>
                  <a:pt x="756145" y="549643"/>
                </a:lnTo>
                <a:lnTo>
                  <a:pt x="771804" y="502323"/>
                </a:lnTo>
                <a:lnTo>
                  <a:pt x="778433" y="452539"/>
                </a:lnTo>
                <a:lnTo>
                  <a:pt x="844537" y="452539"/>
                </a:lnTo>
                <a:lnTo>
                  <a:pt x="844537" y="414845"/>
                </a:lnTo>
                <a:lnTo>
                  <a:pt x="778433" y="414845"/>
                </a:lnTo>
                <a:lnTo>
                  <a:pt x="771804" y="365099"/>
                </a:lnTo>
                <a:lnTo>
                  <a:pt x="756183" y="317855"/>
                </a:lnTo>
                <a:lnTo>
                  <a:pt x="756081" y="317639"/>
                </a:lnTo>
                <a:lnTo>
                  <a:pt x="740740" y="289966"/>
                </a:lnTo>
                <a:lnTo>
                  <a:pt x="740740" y="414845"/>
                </a:lnTo>
                <a:lnTo>
                  <a:pt x="740740" y="452539"/>
                </a:lnTo>
                <a:lnTo>
                  <a:pt x="732320" y="503669"/>
                </a:lnTo>
                <a:lnTo>
                  <a:pt x="714946" y="549592"/>
                </a:lnTo>
                <a:lnTo>
                  <a:pt x="689673" y="588340"/>
                </a:lnTo>
                <a:lnTo>
                  <a:pt x="657606" y="617893"/>
                </a:lnTo>
                <a:lnTo>
                  <a:pt x="657606" y="452539"/>
                </a:lnTo>
                <a:lnTo>
                  <a:pt x="740740" y="452539"/>
                </a:lnTo>
                <a:lnTo>
                  <a:pt x="740740" y="414845"/>
                </a:lnTo>
                <a:lnTo>
                  <a:pt x="657606" y="414845"/>
                </a:lnTo>
                <a:lnTo>
                  <a:pt x="657606" y="249516"/>
                </a:lnTo>
                <a:lnTo>
                  <a:pt x="689673" y="279057"/>
                </a:lnTo>
                <a:lnTo>
                  <a:pt x="714933" y="317792"/>
                </a:lnTo>
                <a:lnTo>
                  <a:pt x="732320" y="363728"/>
                </a:lnTo>
                <a:lnTo>
                  <a:pt x="740740" y="414845"/>
                </a:lnTo>
                <a:lnTo>
                  <a:pt x="740740" y="289966"/>
                </a:lnTo>
                <a:lnTo>
                  <a:pt x="732040" y="274256"/>
                </a:lnTo>
                <a:lnTo>
                  <a:pt x="711479" y="249516"/>
                </a:lnTo>
                <a:lnTo>
                  <a:pt x="700062" y="235775"/>
                </a:lnTo>
                <a:lnTo>
                  <a:pt x="744918" y="255879"/>
                </a:lnTo>
                <a:lnTo>
                  <a:pt x="783120" y="285470"/>
                </a:lnTo>
                <a:lnTo>
                  <a:pt x="813308" y="322884"/>
                </a:lnTo>
                <a:lnTo>
                  <a:pt x="834199" y="366534"/>
                </a:lnTo>
                <a:lnTo>
                  <a:pt x="844537" y="414845"/>
                </a:lnTo>
                <a:lnTo>
                  <a:pt x="844537" y="302818"/>
                </a:lnTo>
                <a:lnTo>
                  <a:pt x="841273" y="296786"/>
                </a:lnTo>
                <a:lnTo>
                  <a:pt x="811441" y="260540"/>
                </a:lnTo>
                <a:lnTo>
                  <a:pt x="781392" y="235673"/>
                </a:lnTo>
                <a:lnTo>
                  <a:pt x="775309" y="230632"/>
                </a:lnTo>
                <a:lnTo>
                  <a:pt x="733831" y="208026"/>
                </a:lnTo>
                <a:lnTo>
                  <a:pt x="688009" y="193725"/>
                </a:lnTo>
                <a:lnTo>
                  <a:pt x="638810" y="188709"/>
                </a:lnTo>
                <a:lnTo>
                  <a:pt x="620026" y="190614"/>
                </a:lnTo>
                <a:lnTo>
                  <a:pt x="620026" y="249504"/>
                </a:lnTo>
                <a:lnTo>
                  <a:pt x="620026" y="414845"/>
                </a:lnTo>
                <a:lnTo>
                  <a:pt x="620026" y="452539"/>
                </a:lnTo>
                <a:lnTo>
                  <a:pt x="620026" y="617905"/>
                </a:lnTo>
                <a:lnTo>
                  <a:pt x="587933" y="588378"/>
                </a:lnTo>
                <a:lnTo>
                  <a:pt x="577583" y="572516"/>
                </a:lnTo>
                <a:lnTo>
                  <a:pt x="577583" y="631698"/>
                </a:lnTo>
                <a:lnTo>
                  <a:pt x="532650" y="611479"/>
                </a:lnTo>
                <a:lnTo>
                  <a:pt x="494499" y="581914"/>
                </a:lnTo>
                <a:lnTo>
                  <a:pt x="464312" y="544499"/>
                </a:lnTo>
                <a:lnTo>
                  <a:pt x="443420" y="500849"/>
                </a:lnTo>
                <a:lnTo>
                  <a:pt x="433095" y="452539"/>
                </a:lnTo>
                <a:lnTo>
                  <a:pt x="499186" y="452539"/>
                </a:lnTo>
                <a:lnTo>
                  <a:pt x="505802" y="502323"/>
                </a:lnTo>
                <a:lnTo>
                  <a:pt x="521423" y="549592"/>
                </a:lnTo>
                <a:lnTo>
                  <a:pt x="545528" y="593115"/>
                </a:lnTo>
                <a:lnTo>
                  <a:pt x="577583" y="631698"/>
                </a:lnTo>
                <a:lnTo>
                  <a:pt x="577583" y="572516"/>
                </a:lnTo>
                <a:lnTo>
                  <a:pt x="562673" y="549643"/>
                </a:lnTo>
                <a:lnTo>
                  <a:pt x="545299" y="503707"/>
                </a:lnTo>
                <a:lnTo>
                  <a:pt x="536879" y="452539"/>
                </a:lnTo>
                <a:lnTo>
                  <a:pt x="620026" y="452539"/>
                </a:lnTo>
                <a:lnTo>
                  <a:pt x="620026" y="414845"/>
                </a:lnTo>
                <a:lnTo>
                  <a:pt x="536867" y="414845"/>
                </a:lnTo>
                <a:lnTo>
                  <a:pt x="545274" y="363575"/>
                </a:lnTo>
                <a:lnTo>
                  <a:pt x="562635" y="317639"/>
                </a:lnTo>
                <a:lnTo>
                  <a:pt x="587908" y="278968"/>
                </a:lnTo>
                <a:lnTo>
                  <a:pt x="620026" y="249504"/>
                </a:lnTo>
                <a:lnTo>
                  <a:pt x="620026" y="190614"/>
                </a:lnTo>
                <a:lnTo>
                  <a:pt x="589584" y="193687"/>
                </a:lnTo>
                <a:lnTo>
                  <a:pt x="577316" y="197510"/>
                </a:lnTo>
                <a:lnTo>
                  <a:pt x="577316" y="235775"/>
                </a:lnTo>
                <a:lnTo>
                  <a:pt x="545312" y="274345"/>
                </a:lnTo>
                <a:lnTo>
                  <a:pt x="521271" y="317855"/>
                </a:lnTo>
                <a:lnTo>
                  <a:pt x="505739" y="365048"/>
                </a:lnTo>
                <a:lnTo>
                  <a:pt x="499186" y="414845"/>
                </a:lnTo>
                <a:lnTo>
                  <a:pt x="433095" y="414845"/>
                </a:lnTo>
                <a:lnTo>
                  <a:pt x="443395" y="366610"/>
                </a:lnTo>
                <a:lnTo>
                  <a:pt x="464235" y="323011"/>
                </a:lnTo>
                <a:lnTo>
                  <a:pt x="494347" y="285623"/>
                </a:lnTo>
                <a:lnTo>
                  <a:pt x="532460" y="256019"/>
                </a:lnTo>
                <a:lnTo>
                  <a:pt x="577316" y="235775"/>
                </a:lnTo>
                <a:lnTo>
                  <a:pt x="577316" y="197510"/>
                </a:lnTo>
                <a:lnTo>
                  <a:pt x="502246" y="230543"/>
                </a:lnTo>
                <a:lnTo>
                  <a:pt x="466090" y="260464"/>
                </a:lnTo>
                <a:lnTo>
                  <a:pt x="436270" y="296722"/>
                </a:lnTo>
                <a:lnTo>
                  <a:pt x="413753" y="338328"/>
                </a:lnTo>
                <a:lnTo>
                  <a:pt x="399516" y="384314"/>
                </a:lnTo>
                <a:lnTo>
                  <a:pt x="394550" y="433692"/>
                </a:lnTo>
                <a:lnTo>
                  <a:pt x="399516" y="483069"/>
                </a:lnTo>
                <a:lnTo>
                  <a:pt x="413753" y="529056"/>
                </a:lnTo>
                <a:lnTo>
                  <a:pt x="436270" y="570674"/>
                </a:lnTo>
                <a:lnTo>
                  <a:pt x="466090" y="606933"/>
                </a:lnTo>
                <a:lnTo>
                  <a:pt x="502246" y="636841"/>
                </a:lnTo>
                <a:lnTo>
                  <a:pt x="543737" y="659434"/>
                </a:lnTo>
                <a:lnTo>
                  <a:pt x="589584" y="673709"/>
                </a:lnTo>
                <a:lnTo>
                  <a:pt x="638810" y="678688"/>
                </a:lnTo>
                <a:lnTo>
                  <a:pt x="688035" y="673709"/>
                </a:lnTo>
                <a:lnTo>
                  <a:pt x="733894" y="659434"/>
                </a:lnTo>
                <a:lnTo>
                  <a:pt x="775385" y="636841"/>
                </a:lnTo>
                <a:lnTo>
                  <a:pt x="781570" y="631723"/>
                </a:lnTo>
                <a:lnTo>
                  <a:pt x="811530" y="606933"/>
                </a:lnTo>
                <a:lnTo>
                  <a:pt x="841349" y="570674"/>
                </a:lnTo>
                <a:lnTo>
                  <a:pt x="863879" y="529056"/>
                </a:lnTo>
                <a:lnTo>
                  <a:pt x="878103" y="483069"/>
                </a:lnTo>
                <a:lnTo>
                  <a:pt x="881176" y="452539"/>
                </a:lnTo>
                <a:lnTo>
                  <a:pt x="883069" y="433692"/>
                </a:lnTo>
                <a:close/>
              </a:path>
              <a:path w="1278254" h="848360">
                <a:moveTo>
                  <a:pt x="1183767" y="94259"/>
                </a:moveTo>
                <a:lnTo>
                  <a:pt x="1146149" y="94259"/>
                </a:lnTo>
                <a:lnTo>
                  <a:pt x="1146149" y="132410"/>
                </a:lnTo>
                <a:lnTo>
                  <a:pt x="1146149" y="735291"/>
                </a:lnTo>
                <a:lnTo>
                  <a:pt x="131521" y="735291"/>
                </a:lnTo>
                <a:lnTo>
                  <a:pt x="131521" y="132410"/>
                </a:lnTo>
                <a:lnTo>
                  <a:pt x="1146149" y="132410"/>
                </a:lnTo>
                <a:lnTo>
                  <a:pt x="1146149" y="94259"/>
                </a:lnTo>
                <a:lnTo>
                  <a:pt x="93941" y="94259"/>
                </a:lnTo>
                <a:lnTo>
                  <a:pt x="93941" y="132410"/>
                </a:lnTo>
                <a:lnTo>
                  <a:pt x="93941" y="735291"/>
                </a:lnTo>
                <a:lnTo>
                  <a:pt x="93941" y="772172"/>
                </a:lnTo>
                <a:lnTo>
                  <a:pt x="93941" y="773442"/>
                </a:lnTo>
                <a:lnTo>
                  <a:pt x="300012" y="773442"/>
                </a:lnTo>
                <a:lnTo>
                  <a:pt x="300012" y="772172"/>
                </a:lnTo>
                <a:lnTo>
                  <a:pt x="1183690" y="772172"/>
                </a:lnTo>
                <a:lnTo>
                  <a:pt x="1183690" y="735291"/>
                </a:lnTo>
                <a:lnTo>
                  <a:pt x="1183728" y="132410"/>
                </a:lnTo>
                <a:lnTo>
                  <a:pt x="1183767" y="94259"/>
                </a:lnTo>
                <a:close/>
              </a:path>
              <a:path w="1278254" h="848360">
                <a:moveTo>
                  <a:pt x="1277708" y="75387"/>
                </a:moveTo>
                <a:lnTo>
                  <a:pt x="1271790" y="46050"/>
                </a:lnTo>
                <a:lnTo>
                  <a:pt x="1255674" y="22098"/>
                </a:lnTo>
                <a:lnTo>
                  <a:pt x="1231798" y="5943"/>
                </a:lnTo>
                <a:lnTo>
                  <a:pt x="1202563" y="0"/>
                </a:lnTo>
                <a:lnTo>
                  <a:pt x="75158" y="0"/>
                </a:lnTo>
                <a:lnTo>
                  <a:pt x="45923" y="5943"/>
                </a:lnTo>
                <a:lnTo>
                  <a:pt x="22034" y="22098"/>
                </a:lnTo>
                <a:lnTo>
                  <a:pt x="5930" y="46050"/>
                </a:lnTo>
                <a:lnTo>
                  <a:pt x="0" y="75387"/>
                </a:lnTo>
                <a:lnTo>
                  <a:pt x="0" y="848283"/>
                </a:lnTo>
                <a:lnTo>
                  <a:pt x="37579" y="848283"/>
                </a:lnTo>
                <a:lnTo>
                  <a:pt x="37579" y="75387"/>
                </a:lnTo>
                <a:lnTo>
                  <a:pt x="40538" y="60718"/>
                </a:lnTo>
                <a:lnTo>
                  <a:pt x="48602" y="48742"/>
                </a:lnTo>
                <a:lnTo>
                  <a:pt x="60540" y="40665"/>
                </a:lnTo>
                <a:lnTo>
                  <a:pt x="75158" y="37693"/>
                </a:lnTo>
                <a:lnTo>
                  <a:pt x="1202563" y="37693"/>
                </a:lnTo>
                <a:lnTo>
                  <a:pt x="1217180" y="40665"/>
                </a:lnTo>
                <a:lnTo>
                  <a:pt x="1229106" y="48742"/>
                </a:lnTo>
                <a:lnTo>
                  <a:pt x="1237170" y="60718"/>
                </a:lnTo>
                <a:lnTo>
                  <a:pt x="1240129" y="75387"/>
                </a:lnTo>
                <a:lnTo>
                  <a:pt x="1240129" y="848283"/>
                </a:lnTo>
                <a:lnTo>
                  <a:pt x="1277708" y="848283"/>
                </a:lnTo>
                <a:lnTo>
                  <a:pt x="1277708" y="75387"/>
                </a:lnTo>
                <a:close/>
              </a:path>
            </a:pathLst>
          </a:custGeom>
          <a:solidFill>
            <a:srgbClr val="D1660F"/>
          </a:solid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object 6"/>
          <p:cNvSpPr/>
          <p:nvPr/>
        </p:nvSpPr>
        <p:spPr>
          <a:xfrm>
            <a:off x="8609548" y="4087698"/>
            <a:ext cx="1729105" cy="132080"/>
          </a:xfrm>
          <a:custGeom>
            <a:avLst/>
            <a:gdLst/>
            <a:ahLst/>
            <a:cxnLst/>
            <a:rect l="l" t="t" r="r" b="b"/>
            <a:pathLst>
              <a:path w="1729104" h="132079">
                <a:moveTo>
                  <a:pt x="1634721" y="131916"/>
                </a:moveTo>
                <a:lnTo>
                  <a:pt x="93945" y="131916"/>
                </a:lnTo>
                <a:lnTo>
                  <a:pt x="57396" y="124481"/>
                </a:lnTo>
                <a:lnTo>
                  <a:pt x="27547" y="104277"/>
                </a:lnTo>
                <a:lnTo>
                  <a:pt x="7410" y="74332"/>
                </a:lnTo>
                <a:lnTo>
                  <a:pt x="3" y="37690"/>
                </a:lnTo>
                <a:lnTo>
                  <a:pt x="0" y="0"/>
                </a:lnTo>
                <a:lnTo>
                  <a:pt x="770388" y="0"/>
                </a:lnTo>
                <a:lnTo>
                  <a:pt x="770388" y="37690"/>
                </a:lnTo>
                <a:lnTo>
                  <a:pt x="37578" y="37690"/>
                </a:lnTo>
                <a:lnTo>
                  <a:pt x="42025" y="59684"/>
                </a:lnTo>
                <a:lnTo>
                  <a:pt x="54107" y="77647"/>
                </a:lnTo>
                <a:lnTo>
                  <a:pt x="72016" y="89765"/>
                </a:lnTo>
                <a:lnTo>
                  <a:pt x="93945" y="94226"/>
                </a:lnTo>
                <a:lnTo>
                  <a:pt x="1707901" y="94226"/>
                </a:lnTo>
                <a:lnTo>
                  <a:pt x="1701136" y="104284"/>
                </a:lnTo>
                <a:lnTo>
                  <a:pt x="1671281" y="124484"/>
                </a:lnTo>
                <a:lnTo>
                  <a:pt x="1634721" y="131916"/>
                </a:lnTo>
                <a:close/>
              </a:path>
              <a:path w="1729104" h="132079">
                <a:moveTo>
                  <a:pt x="1707901" y="94226"/>
                </a:moveTo>
                <a:lnTo>
                  <a:pt x="1634721" y="94226"/>
                </a:lnTo>
                <a:lnTo>
                  <a:pt x="1656650" y="89765"/>
                </a:lnTo>
                <a:lnTo>
                  <a:pt x="1674561" y="77647"/>
                </a:lnTo>
                <a:lnTo>
                  <a:pt x="1686649" y="59684"/>
                </a:lnTo>
                <a:lnTo>
                  <a:pt x="1691107" y="37690"/>
                </a:lnTo>
                <a:lnTo>
                  <a:pt x="958297" y="37690"/>
                </a:lnTo>
                <a:lnTo>
                  <a:pt x="958297" y="0"/>
                </a:lnTo>
                <a:lnTo>
                  <a:pt x="1728685" y="0"/>
                </a:lnTo>
                <a:lnTo>
                  <a:pt x="1728682" y="37690"/>
                </a:lnTo>
                <a:lnTo>
                  <a:pt x="1721275" y="74340"/>
                </a:lnTo>
                <a:lnTo>
                  <a:pt x="1707901" y="94226"/>
                </a:lnTo>
                <a:close/>
              </a:path>
              <a:path w="1729104" h="132079">
                <a:moveTo>
                  <a:pt x="768716" y="75399"/>
                </a:moveTo>
                <a:lnTo>
                  <a:pt x="735176" y="51972"/>
                </a:lnTo>
                <a:lnTo>
                  <a:pt x="732810" y="37690"/>
                </a:lnTo>
                <a:lnTo>
                  <a:pt x="995875" y="37690"/>
                </a:lnTo>
                <a:lnTo>
                  <a:pt x="995875" y="40196"/>
                </a:lnTo>
                <a:lnTo>
                  <a:pt x="992532" y="54283"/>
                </a:lnTo>
                <a:lnTo>
                  <a:pt x="984350" y="65597"/>
                </a:lnTo>
                <a:lnTo>
                  <a:pt x="972536" y="73007"/>
                </a:lnTo>
                <a:lnTo>
                  <a:pt x="958297" y="75381"/>
                </a:lnTo>
                <a:lnTo>
                  <a:pt x="770388" y="75381"/>
                </a:lnTo>
                <a:lnTo>
                  <a:pt x="768716" y="75399"/>
                </a:lnTo>
                <a:close/>
              </a:path>
            </a:pathLst>
          </a:custGeom>
          <a:solidFill>
            <a:srgbClr val="D1660F"/>
          </a:solid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1" name="object 8"/>
          <p:cNvSpPr txBox="1">
            <a:spLocks noGrp="1"/>
          </p:cNvSpPr>
          <p:nvPr>
            <p:ph type="ftr" sz="quarter" idx="5"/>
          </p:nvPr>
        </p:nvSpPr>
        <p:spPr>
          <a:xfrm>
            <a:off x="6983260" y="6553958"/>
            <a:ext cx="5008033" cy="104516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 marR="0" lvl="0" indent="0" algn="l" defTabSz="914400" rtl="0" eaLnBrk="1" fontAlgn="auto" latinLnBrk="0" hangingPunct="1">
              <a:lnSpc>
                <a:spcPct val="100000"/>
              </a:lnSpc>
              <a:spcBef>
                <a:spcPts val="9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600" b="1" i="0" u="none" strike="noStrike" kern="1200" cap="none" spc="3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</a:rPr>
              <a:t>J</a:t>
            </a:r>
            <a:r>
              <a:rPr kumimoji="0" sz="600" b="1" i="0" u="none" strike="noStrike" kern="1200" cap="none" spc="-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</a:rPr>
              <a:t> </a:t>
            </a:r>
            <a:r>
              <a:rPr kumimoji="0" sz="600" b="1" i="0" u="none" strike="noStrike" kern="1200" cap="none" spc="3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</a:rPr>
              <a:t>O</a:t>
            </a:r>
            <a:r>
              <a:rPr kumimoji="0" sz="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</a:rPr>
              <a:t> </a:t>
            </a:r>
            <a:r>
              <a:rPr kumimoji="0" sz="600" b="1" i="0" u="none" strike="noStrike" kern="1200" cap="none" spc="3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</a:rPr>
              <a:t>H</a:t>
            </a:r>
            <a:r>
              <a:rPr kumimoji="0" sz="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</a:rPr>
              <a:t> N  </a:t>
            </a:r>
            <a:r>
              <a:rPr kumimoji="0" sz="600" b="1" i="0" u="none" strike="noStrike" kern="1200" cap="none" spc="6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</a:rPr>
              <a:t> </a:t>
            </a:r>
            <a:r>
              <a:rPr kumimoji="0" sz="600" b="1" i="0" u="none" strike="noStrike" kern="1200" cap="none" spc="3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</a:rPr>
              <a:t>W</a:t>
            </a:r>
            <a:r>
              <a:rPr kumimoji="0" sz="600" b="1" i="0" u="none" strike="noStrike" kern="1200" cap="none" spc="-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</a:rPr>
              <a:t> </a:t>
            </a:r>
            <a:r>
              <a:rPr kumimoji="0" sz="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</a:rPr>
              <a:t>.  </a:t>
            </a:r>
            <a:r>
              <a:rPr kumimoji="0" sz="600" b="1" i="0" u="none" strike="noStrike" kern="1200" cap="none" spc="4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</a:rPr>
              <a:t> </a:t>
            </a:r>
            <a:r>
              <a:rPr kumimoji="0" sz="600" b="1" i="0" u="none" strike="noStrike" kern="1200" cap="none" spc="3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</a:rPr>
              <a:t>G</a:t>
            </a:r>
            <a:r>
              <a:rPr kumimoji="0" sz="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</a:rPr>
              <a:t> </a:t>
            </a:r>
            <a:r>
              <a:rPr kumimoji="0" sz="600" b="1" i="0" u="none" strike="noStrike" kern="1200" cap="none" spc="3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</a:rPr>
              <a:t>A</a:t>
            </a:r>
            <a:r>
              <a:rPr kumimoji="0" sz="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</a:rPr>
              <a:t> </a:t>
            </a:r>
            <a:r>
              <a:rPr kumimoji="0" sz="600" b="1" i="0" u="none" strike="noStrike" kern="1200" cap="none" spc="3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</a:rPr>
              <a:t>R</a:t>
            </a:r>
            <a:r>
              <a:rPr kumimoji="0" sz="600" b="1" i="0" u="none" strike="noStrike" kern="1200" cap="none" spc="-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</a:rPr>
              <a:t> </a:t>
            </a:r>
            <a:r>
              <a:rPr kumimoji="0" sz="600" b="1" i="0" u="none" strike="noStrike" kern="1200" cap="none" spc="3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</a:rPr>
              <a:t>D</a:t>
            </a:r>
            <a:r>
              <a:rPr kumimoji="0" sz="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</a:rPr>
              <a:t> </a:t>
            </a:r>
            <a:r>
              <a:rPr kumimoji="0" sz="600" b="1" i="0" u="none" strike="noStrike" kern="1200" cap="none" spc="3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</a:rPr>
              <a:t>N</a:t>
            </a:r>
            <a:r>
              <a:rPr kumimoji="0" sz="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</a:rPr>
              <a:t> </a:t>
            </a:r>
            <a:r>
              <a:rPr kumimoji="0" sz="600" b="1" i="0" u="none" strike="noStrike" kern="1200" cap="none" spc="3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</a:rPr>
              <a:t>E</a:t>
            </a:r>
            <a:r>
              <a:rPr kumimoji="0" sz="600" b="1" i="0" u="none" strike="noStrike" kern="1200" cap="none" spc="-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</a:rPr>
              <a:t> </a:t>
            </a:r>
            <a:r>
              <a:rPr kumimoji="0" sz="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</a:rPr>
              <a:t>R  </a:t>
            </a:r>
            <a:r>
              <a:rPr kumimoji="0" sz="600" b="1" i="0" u="none" strike="noStrike" kern="1200" cap="none" spc="8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</a:rPr>
              <a:t> </a:t>
            </a:r>
            <a:r>
              <a:rPr kumimoji="0" sz="600" b="1" i="0" u="none" strike="noStrike" kern="1200" cap="none" spc="3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</a:rPr>
              <a:t>C</a:t>
            </a:r>
            <a:r>
              <a:rPr kumimoji="0" sz="600" b="1" i="0" u="none" strike="noStrike" kern="1200" cap="none" spc="-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</a:rPr>
              <a:t> </a:t>
            </a:r>
            <a:r>
              <a:rPr kumimoji="0" sz="600" b="1" i="0" u="none" strike="noStrike" kern="1200" cap="none" spc="3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</a:rPr>
              <a:t>E</a:t>
            </a:r>
            <a:r>
              <a:rPr kumimoji="0" sz="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</a:rPr>
              <a:t> </a:t>
            </a:r>
            <a:r>
              <a:rPr kumimoji="0" sz="600" b="1" i="0" u="none" strike="noStrike" kern="1200" cap="none" spc="3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</a:rPr>
              <a:t>N</a:t>
            </a:r>
            <a:r>
              <a:rPr kumimoji="0" sz="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</a:rPr>
              <a:t> </a:t>
            </a:r>
            <a:r>
              <a:rPr kumimoji="0" sz="600" b="1" i="0" u="none" strike="noStrike" kern="1200" cap="none" spc="3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</a:rPr>
              <a:t>T</a:t>
            </a:r>
            <a:r>
              <a:rPr kumimoji="0" sz="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</a:rPr>
              <a:t> </a:t>
            </a:r>
            <a:r>
              <a:rPr kumimoji="0" sz="600" b="1" i="0" u="none" strike="noStrike" kern="1200" cap="none" spc="3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</a:rPr>
              <a:t>E</a:t>
            </a:r>
            <a:r>
              <a:rPr kumimoji="0" sz="600" b="1" i="0" u="none" strike="noStrike" kern="1200" cap="none" spc="-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</a:rPr>
              <a:t> </a:t>
            </a:r>
            <a:r>
              <a:rPr kumimoji="0" sz="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</a:rPr>
              <a:t>R  </a:t>
            </a:r>
            <a:r>
              <a:rPr kumimoji="0" sz="600" b="1" i="0" u="none" strike="noStrike" kern="1200" cap="none" spc="6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</a:rPr>
              <a:t> </a:t>
            </a:r>
            <a:r>
              <a:rPr kumimoji="0" sz="600" b="1" i="0" u="none" strike="noStrike" kern="1200" cap="none" spc="3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</a:rPr>
              <a:t>F</a:t>
            </a:r>
            <a:r>
              <a:rPr kumimoji="0" sz="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</a:rPr>
              <a:t> </a:t>
            </a:r>
            <a:r>
              <a:rPr kumimoji="0" sz="600" b="1" i="0" u="none" strike="noStrike" kern="1200" cap="none" spc="3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</a:rPr>
              <a:t>O</a:t>
            </a:r>
            <a:r>
              <a:rPr kumimoji="0" sz="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</a:rPr>
              <a:t> R  </a:t>
            </a:r>
            <a:r>
              <a:rPr kumimoji="0" sz="600" b="1" i="0" u="none" strike="noStrike" kern="1200" cap="none" spc="5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</a:rPr>
              <a:t> </a:t>
            </a:r>
            <a:r>
              <a:rPr kumimoji="0" sz="600" b="1" i="0" u="none" strike="noStrike" kern="1200" cap="none" spc="3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</a:rPr>
              <a:t>Y</a:t>
            </a:r>
            <a:r>
              <a:rPr kumimoji="0" sz="600" b="1" i="0" u="none" strike="noStrike" kern="1200" cap="none" spc="-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</a:rPr>
              <a:t> </a:t>
            </a:r>
            <a:r>
              <a:rPr kumimoji="0" sz="600" b="1" i="0" u="none" strike="noStrike" kern="1200" cap="none" spc="3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</a:rPr>
              <a:t>O</a:t>
            </a:r>
            <a:r>
              <a:rPr kumimoji="0" sz="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</a:rPr>
              <a:t> </a:t>
            </a:r>
            <a:r>
              <a:rPr kumimoji="0" sz="600" b="1" i="0" u="none" strike="noStrike" kern="1200" cap="none" spc="3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</a:rPr>
              <a:t>U</a:t>
            </a:r>
            <a:r>
              <a:rPr kumimoji="0" sz="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</a:rPr>
              <a:t> </a:t>
            </a:r>
            <a:r>
              <a:rPr kumimoji="0" sz="600" b="1" i="0" u="none" strike="noStrike" kern="1200" cap="none" spc="3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</a:rPr>
              <a:t>T</a:t>
            </a:r>
            <a:r>
              <a:rPr kumimoji="0" sz="600" b="1" i="0" u="none" strike="noStrike" kern="1200" cap="none" spc="-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</a:rPr>
              <a:t> </a:t>
            </a:r>
            <a:r>
              <a:rPr kumimoji="0" sz="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</a:rPr>
              <a:t>H  </a:t>
            </a:r>
            <a:r>
              <a:rPr kumimoji="0" sz="600" b="1" i="0" u="none" strike="noStrike" kern="1200" cap="none" spc="6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</a:rPr>
              <a:t> </a:t>
            </a:r>
            <a:r>
              <a:rPr kumimoji="0" sz="600" b="1" i="0" u="none" strike="noStrike" kern="1200" cap="none" spc="3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</a:rPr>
              <a:t>A</a:t>
            </a:r>
            <a:r>
              <a:rPr kumimoji="0" sz="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</a:rPr>
              <a:t> </a:t>
            </a:r>
            <a:r>
              <a:rPr kumimoji="0" sz="600" b="1" i="0" u="none" strike="noStrike" kern="1200" cap="none" spc="3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</a:rPr>
              <a:t>N</a:t>
            </a:r>
            <a:r>
              <a:rPr kumimoji="0" sz="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</a:rPr>
              <a:t> D  </a:t>
            </a:r>
            <a:r>
              <a:rPr kumimoji="0" sz="600" b="1" i="0" u="none" strike="noStrike" kern="1200" cap="none" spc="7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</a:rPr>
              <a:t> </a:t>
            </a:r>
            <a:r>
              <a:rPr kumimoji="0" sz="600" b="1" i="0" u="none" strike="noStrike" kern="1200" cap="none" spc="3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</a:rPr>
              <a:t>T</a:t>
            </a:r>
            <a:r>
              <a:rPr kumimoji="0" sz="600" b="1" i="0" u="none" strike="noStrike" kern="1200" cap="none" spc="-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</a:rPr>
              <a:t> </a:t>
            </a:r>
            <a:r>
              <a:rPr kumimoji="0" sz="600" b="1" i="0" u="none" strike="noStrike" kern="1200" cap="none" spc="3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</a:rPr>
              <a:t>H</a:t>
            </a:r>
            <a:r>
              <a:rPr kumimoji="0" sz="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</a:rPr>
              <a:t> </a:t>
            </a:r>
            <a:r>
              <a:rPr kumimoji="0" sz="600" b="1" i="0" u="none" strike="noStrike" kern="1200" cap="none" spc="3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</a:rPr>
              <a:t>E</a:t>
            </a:r>
            <a:r>
              <a:rPr kumimoji="0" sz="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</a:rPr>
              <a:t> </a:t>
            </a:r>
            <a:r>
              <a:rPr kumimoji="0" sz="600" b="1" i="0" u="none" strike="noStrike" kern="1200" cap="none" spc="3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</a:rPr>
              <a:t>I</a:t>
            </a:r>
            <a:r>
              <a:rPr kumimoji="0" sz="600" b="1" i="0" u="none" strike="noStrike" kern="1200" cap="none" spc="-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</a:rPr>
              <a:t> </a:t>
            </a:r>
            <a:r>
              <a:rPr kumimoji="0" sz="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</a:rPr>
              <a:t>R  </a:t>
            </a:r>
            <a:r>
              <a:rPr kumimoji="0" sz="600" b="1" i="0" u="none" strike="noStrike" kern="1200" cap="none" spc="6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</a:rPr>
              <a:t> </a:t>
            </a:r>
            <a:r>
              <a:rPr kumimoji="0" sz="600" b="1" i="0" u="none" strike="noStrike" kern="1200" cap="none" spc="3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</a:rPr>
              <a:t>C</a:t>
            </a:r>
            <a:r>
              <a:rPr kumimoji="0" sz="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</a:rPr>
              <a:t> </a:t>
            </a:r>
            <a:r>
              <a:rPr kumimoji="0" sz="600" b="1" i="0" u="none" strike="noStrike" kern="1200" cap="none" spc="3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</a:rPr>
              <a:t>O</a:t>
            </a:r>
            <a:r>
              <a:rPr kumimoji="0" sz="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</a:rPr>
              <a:t> </a:t>
            </a:r>
            <a:r>
              <a:rPr kumimoji="0" sz="600" b="1" i="0" u="none" strike="noStrike" kern="1200" cap="none" spc="3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</a:rPr>
              <a:t>M</a:t>
            </a:r>
            <a:r>
              <a:rPr kumimoji="0" sz="600" b="1" i="0" u="none" strike="noStrike" kern="1200" cap="none" spc="-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</a:rPr>
              <a:t> </a:t>
            </a:r>
            <a:r>
              <a:rPr kumimoji="0" sz="600" b="1" i="0" u="none" strike="noStrike" kern="1200" cap="none" spc="3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</a:rPr>
              <a:t>M</a:t>
            </a:r>
            <a:r>
              <a:rPr kumimoji="0" sz="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</a:rPr>
              <a:t> </a:t>
            </a:r>
            <a:r>
              <a:rPr kumimoji="0" sz="600" b="1" i="0" u="none" strike="noStrike" kern="1200" cap="none" spc="3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</a:rPr>
              <a:t>U</a:t>
            </a:r>
            <a:r>
              <a:rPr kumimoji="0" sz="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</a:rPr>
              <a:t> </a:t>
            </a:r>
            <a:r>
              <a:rPr kumimoji="0" sz="600" b="1" i="0" u="none" strike="noStrike" kern="1200" cap="none" spc="3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</a:rPr>
              <a:t>N</a:t>
            </a:r>
            <a:r>
              <a:rPr kumimoji="0" sz="600" b="1" i="0" u="none" strike="noStrike" kern="1200" cap="none" spc="-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</a:rPr>
              <a:t> </a:t>
            </a:r>
            <a:r>
              <a:rPr kumimoji="0" sz="600" b="1" i="0" u="none" strike="noStrike" kern="1200" cap="none" spc="3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</a:rPr>
              <a:t>I</a:t>
            </a:r>
            <a:r>
              <a:rPr kumimoji="0" sz="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</a:rPr>
              <a:t> </a:t>
            </a:r>
            <a:r>
              <a:rPr kumimoji="0" sz="600" b="1" i="0" u="none" strike="noStrike" kern="1200" cap="none" spc="3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</a:rPr>
              <a:t>T</a:t>
            </a:r>
            <a:r>
              <a:rPr kumimoji="0" sz="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</a:rPr>
              <a:t> </a:t>
            </a:r>
            <a:r>
              <a:rPr kumimoji="0" sz="600" b="1" i="0" u="none" strike="noStrike" kern="1200" cap="none" spc="3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</a:rPr>
              <a:t>I</a:t>
            </a:r>
            <a:r>
              <a:rPr kumimoji="0" sz="600" b="1" i="0" u="none" strike="noStrike" kern="1200" cap="none" spc="-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</a:rPr>
              <a:t> </a:t>
            </a:r>
            <a:r>
              <a:rPr kumimoji="0" sz="600" b="1" i="0" u="none" strike="noStrike" kern="1200" cap="none" spc="3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</a:rPr>
              <a:t>E</a:t>
            </a:r>
            <a:r>
              <a:rPr kumimoji="0" sz="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</a:rPr>
              <a:t> S</a:t>
            </a:r>
            <a:r>
              <a:rPr kumimoji="0" sz="600" b="1" i="0" u="none" strike="noStrike" kern="1200" cap="none" spc="3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</a:rPr>
              <a:t> 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199696" y="6421550"/>
            <a:ext cx="389478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ource:  </a:t>
            </a:r>
            <a:r>
              <a:rPr kumimoji="0" 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  <a:hlinkClick r:id="rId3"/>
              </a:rPr>
              <a:t>Community Survey conducted spring 2021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BF518A3A-ECE0-42A2-BD7B-43096BD7B6FA}"/>
              </a:ext>
            </a:extLst>
          </p:cNvPr>
          <p:cNvSpPr/>
          <p:nvPr/>
        </p:nvSpPr>
        <p:spPr>
          <a:xfrm>
            <a:off x="366852" y="217727"/>
            <a:ext cx="11458296" cy="1132100"/>
          </a:xfrm>
          <a:prstGeom prst="rect">
            <a:avLst/>
          </a:prstGeom>
          <a:solidFill>
            <a:srgbClr val="006633"/>
          </a:solidFill>
          <a:ln>
            <a:noFill/>
          </a:ln>
          <a:effectLst/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/>
          </a:p>
        </p:txBody>
      </p:sp>
      <p:sp>
        <p:nvSpPr>
          <p:cNvPr id="16" name="Title 1"/>
          <p:cNvSpPr txBox="1">
            <a:spLocks/>
          </p:cNvSpPr>
          <p:nvPr/>
        </p:nvSpPr>
        <p:spPr>
          <a:xfrm>
            <a:off x="733704" y="388337"/>
            <a:ext cx="10515600" cy="961490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0000"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sz="3600" b="1" dirty="0" smtClean="0">
                <a:solidFill>
                  <a:schemeClr val="bg1"/>
                </a:solidFill>
                <a:effectLst>
                  <a:outerShdw blurRad="50800" dist="50800" dir="5400000" algn="ctr" rotWithShape="0">
                    <a:srgbClr val="000000">
                      <a:alpha val="43137"/>
                    </a:srgbClr>
                  </a:outerShdw>
                </a:effectLst>
                <a:latin typeface="Franklin Gothic Book" panose="020B0503020102020204" pitchFamily="34" charset="0"/>
              </a:rPr>
              <a:t>Equity &amp; Antiracism: Guided Pathways</a:t>
            </a:r>
          </a:p>
          <a:p>
            <a:pPr algn="ctr"/>
            <a:r>
              <a:rPr lang="en-US" sz="3600" b="1" dirty="0" smtClean="0">
                <a:solidFill>
                  <a:schemeClr val="bg1"/>
                </a:solidFill>
                <a:effectLst>
                  <a:outerShdw blurRad="50800" dist="50800" dir="5400000" algn="ctr" rotWithShape="0">
                    <a:srgbClr val="000000">
                      <a:alpha val="43137"/>
                    </a:srgbClr>
                  </a:outerShdw>
                </a:effectLst>
                <a:latin typeface="Franklin Gothic Book" panose="020B0503020102020204" pitchFamily="34" charset="0"/>
              </a:rPr>
              <a:t>Creating a sense of belonging and connection</a:t>
            </a:r>
            <a:endParaRPr lang="en-US" sz="3600" b="1" dirty="0">
              <a:solidFill>
                <a:schemeClr val="bg1"/>
              </a:solidFill>
              <a:effectLst>
                <a:outerShdw blurRad="50800" dist="50800" dir="5400000" algn="ctr" rotWithShape="0">
                  <a:srgbClr val="000000">
                    <a:alpha val="43137"/>
                  </a:srgbClr>
                </a:outerShdw>
              </a:effectLst>
              <a:latin typeface="Franklin Gothic Book" panose="020B0503020102020204" pitchFamily="34" charset="0"/>
            </a:endParaRPr>
          </a:p>
        </p:txBody>
      </p:sp>
      <p:sp>
        <p:nvSpPr>
          <p:cNvPr id="17" name="Rectangle 9">
            <a:extLst>
              <a:ext uri="{FF2B5EF4-FFF2-40B4-BE49-F238E27FC236}">
                <a16:creationId xmlns:a16="http://schemas.microsoft.com/office/drawing/2014/main" id="{29C5912D-DD36-465B-BD92-BB0220505875}"/>
              </a:ext>
            </a:extLst>
          </p:cNvPr>
          <p:cNvSpPr/>
          <p:nvPr/>
        </p:nvSpPr>
        <p:spPr>
          <a:xfrm rot="10800000" flipH="1">
            <a:off x="366852" y="217727"/>
            <a:ext cx="1788160" cy="1132099"/>
          </a:xfrm>
          <a:custGeom>
            <a:avLst/>
            <a:gdLst>
              <a:gd name="connsiteX0" fmla="*/ 0 w 1995342"/>
              <a:gd name="connsiteY0" fmla="*/ 0 h 690843"/>
              <a:gd name="connsiteX1" fmla="*/ 1995342 w 1995342"/>
              <a:gd name="connsiteY1" fmla="*/ 0 h 690843"/>
              <a:gd name="connsiteX2" fmla="*/ 1995342 w 1995342"/>
              <a:gd name="connsiteY2" fmla="*/ 690843 h 690843"/>
              <a:gd name="connsiteX3" fmla="*/ 0 w 1995342"/>
              <a:gd name="connsiteY3" fmla="*/ 690843 h 690843"/>
              <a:gd name="connsiteX4" fmla="*/ 0 w 1995342"/>
              <a:gd name="connsiteY4" fmla="*/ 0 h 690843"/>
              <a:gd name="connsiteX0" fmla="*/ 0 w 1995342"/>
              <a:gd name="connsiteY0" fmla="*/ 0 h 690843"/>
              <a:gd name="connsiteX1" fmla="*/ 1375630 w 1995342"/>
              <a:gd name="connsiteY1" fmla="*/ 0 h 690843"/>
              <a:gd name="connsiteX2" fmla="*/ 1995342 w 1995342"/>
              <a:gd name="connsiteY2" fmla="*/ 690843 h 690843"/>
              <a:gd name="connsiteX3" fmla="*/ 0 w 1995342"/>
              <a:gd name="connsiteY3" fmla="*/ 690843 h 690843"/>
              <a:gd name="connsiteX4" fmla="*/ 0 w 1995342"/>
              <a:gd name="connsiteY4" fmla="*/ 0 h 690843"/>
              <a:gd name="connsiteX0" fmla="*/ 0 w 1995342"/>
              <a:gd name="connsiteY0" fmla="*/ 0 h 690843"/>
              <a:gd name="connsiteX1" fmla="*/ 1427711 w 1995342"/>
              <a:gd name="connsiteY1" fmla="*/ 53873 h 690843"/>
              <a:gd name="connsiteX2" fmla="*/ 1995342 w 1995342"/>
              <a:gd name="connsiteY2" fmla="*/ 690843 h 690843"/>
              <a:gd name="connsiteX3" fmla="*/ 0 w 1995342"/>
              <a:gd name="connsiteY3" fmla="*/ 690843 h 690843"/>
              <a:gd name="connsiteX4" fmla="*/ 0 w 1995342"/>
              <a:gd name="connsiteY4" fmla="*/ 0 h 690843"/>
              <a:gd name="connsiteX0" fmla="*/ 26571 w 1995342"/>
              <a:gd name="connsiteY0" fmla="*/ 15898 h 636970"/>
              <a:gd name="connsiteX1" fmla="*/ 1427711 w 1995342"/>
              <a:gd name="connsiteY1" fmla="*/ 0 h 636970"/>
              <a:gd name="connsiteX2" fmla="*/ 1995342 w 1995342"/>
              <a:gd name="connsiteY2" fmla="*/ 636970 h 636970"/>
              <a:gd name="connsiteX3" fmla="*/ 0 w 1995342"/>
              <a:gd name="connsiteY3" fmla="*/ 636970 h 636970"/>
              <a:gd name="connsiteX4" fmla="*/ 26571 w 1995342"/>
              <a:gd name="connsiteY4" fmla="*/ 15898 h 636970"/>
              <a:gd name="connsiteX0" fmla="*/ 0 w 1995342"/>
              <a:gd name="connsiteY0" fmla="*/ 0 h 640502"/>
              <a:gd name="connsiteX1" fmla="*/ 1427711 w 1995342"/>
              <a:gd name="connsiteY1" fmla="*/ 3532 h 640502"/>
              <a:gd name="connsiteX2" fmla="*/ 1995342 w 1995342"/>
              <a:gd name="connsiteY2" fmla="*/ 640502 h 640502"/>
              <a:gd name="connsiteX3" fmla="*/ 0 w 1995342"/>
              <a:gd name="connsiteY3" fmla="*/ 640502 h 640502"/>
              <a:gd name="connsiteX4" fmla="*/ 0 w 1995342"/>
              <a:gd name="connsiteY4" fmla="*/ 0 h 640502"/>
              <a:gd name="connsiteX0" fmla="*/ 0 w 1995342"/>
              <a:gd name="connsiteY0" fmla="*/ 0 h 640502"/>
              <a:gd name="connsiteX1" fmla="*/ 1420271 w 1995342"/>
              <a:gd name="connsiteY1" fmla="*/ 1765 h 640502"/>
              <a:gd name="connsiteX2" fmla="*/ 1995342 w 1995342"/>
              <a:gd name="connsiteY2" fmla="*/ 640502 h 640502"/>
              <a:gd name="connsiteX3" fmla="*/ 0 w 1995342"/>
              <a:gd name="connsiteY3" fmla="*/ 640502 h 640502"/>
              <a:gd name="connsiteX4" fmla="*/ 0 w 1995342"/>
              <a:gd name="connsiteY4" fmla="*/ 0 h 640502"/>
              <a:gd name="connsiteX0" fmla="*/ 0 w 1995342"/>
              <a:gd name="connsiteY0" fmla="*/ 0 h 640502"/>
              <a:gd name="connsiteX1" fmla="*/ 1439402 w 1995342"/>
              <a:gd name="connsiteY1" fmla="*/ 3532 h 640502"/>
              <a:gd name="connsiteX2" fmla="*/ 1995342 w 1995342"/>
              <a:gd name="connsiteY2" fmla="*/ 640502 h 640502"/>
              <a:gd name="connsiteX3" fmla="*/ 0 w 1995342"/>
              <a:gd name="connsiteY3" fmla="*/ 640502 h 640502"/>
              <a:gd name="connsiteX4" fmla="*/ 0 w 1995342"/>
              <a:gd name="connsiteY4" fmla="*/ 0 h 640502"/>
              <a:gd name="connsiteX0" fmla="*/ 0 w 1995342"/>
              <a:gd name="connsiteY0" fmla="*/ 0 h 640502"/>
              <a:gd name="connsiteX1" fmla="*/ 1441528 w 1995342"/>
              <a:gd name="connsiteY1" fmla="*/ 1765 h 640502"/>
              <a:gd name="connsiteX2" fmla="*/ 1995342 w 1995342"/>
              <a:gd name="connsiteY2" fmla="*/ 640502 h 640502"/>
              <a:gd name="connsiteX3" fmla="*/ 0 w 1995342"/>
              <a:gd name="connsiteY3" fmla="*/ 640502 h 640502"/>
              <a:gd name="connsiteX4" fmla="*/ 0 w 1995342"/>
              <a:gd name="connsiteY4" fmla="*/ 0 h 640502"/>
              <a:gd name="connsiteX0" fmla="*/ 0 w 1995342"/>
              <a:gd name="connsiteY0" fmla="*/ 0 h 640502"/>
              <a:gd name="connsiteX1" fmla="*/ 1442591 w 1995342"/>
              <a:gd name="connsiteY1" fmla="*/ 882 h 640502"/>
              <a:gd name="connsiteX2" fmla="*/ 1995342 w 1995342"/>
              <a:gd name="connsiteY2" fmla="*/ 640502 h 640502"/>
              <a:gd name="connsiteX3" fmla="*/ 0 w 1995342"/>
              <a:gd name="connsiteY3" fmla="*/ 640502 h 640502"/>
              <a:gd name="connsiteX4" fmla="*/ 0 w 1995342"/>
              <a:gd name="connsiteY4" fmla="*/ 0 h 6405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95342" h="640502">
                <a:moveTo>
                  <a:pt x="0" y="0"/>
                </a:moveTo>
                <a:lnTo>
                  <a:pt x="1442591" y="882"/>
                </a:lnTo>
                <a:lnTo>
                  <a:pt x="1995342" y="640502"/>
                </a:lnTo>
                <a:lnTo>
                  <a:pt x="0" y="640502"/>
                </a:lnTo>
                <a:lnTo>
                  <a:pt x="0" y="0"/>
                </a:lnTo>
                <a:close/>
              </a:path>
            </a:pathLst>
          </a:custGeom>
          <a:ln>
            <a:noFill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sz="1100" dirty="0"/>
          </a:p>
        </p:txBody>
      </p:sp>
    </p:spTree>
    <p:extLst>
      <p:ext uri="{BB962C8B-B14F-4D97-AF65-F5344CB8AC3E}">
        <p14:creationId xmlns:p14="http://schemas.microsoft.com/office/powerpoint/2010/main" val="27144121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BF518A3A-ECE0-42A2-BD7B-43096BD7B6FA}"/>
              </a:ext>
            </a:extLst>
          </p:cNvPr>
          <p:cNvSpPr/>
          <p:nvPr/>
        </p:nvSpPr>
        <p:spPr>
          <a:xfrm>
            <a:off x="366852" y="228614"/>
            <a:ext cx="11458296" cy="690843"/>
          </a:xfrm>
          <a:prstGeom prst="rect">
            <a:avLst/>
          </a:prstGeom>
          <a:solidFill>
            <a:srgbClr val="006633"/>
          </a:solidFill>
          <a:ln>
            <a:noFill/>
          </a:ln>
          <a:effectLst/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33704" y="323024"/>
            <a:ext cx="10515600" cy="528108"/>
          </a:xfrm>
        </p:spPr>
        <p:txBody>
          <a:bodyPr>
            <a:normAutofit fontScale="90000"/>
          </a:bodyPr>
          <a:lstStyle/>
          <a:p>
            <a:pPr algn="ctr"/>
            <a:r>
              <a:rPr lang="en-US" sz="3600" b="1" dirty="0">
                <a:solidFill>
                  <a:schemeClr val="bg1"/>
                </a:solidFill>
                <a:effectLst>
                  <a:outerShdw blurRad="50800" dist="50800" dir="5400000" algn="ctr" rotWithShape="0">
                    <a:srgbClr val="000000">
                      <a:alpha val="43137"/>
                    </a:srgbClr>
                  </a:outerShdw>
                </a:effectLst>
                <a:latin typeface="Franklin Gothic Book" panose="020B0503020102020204" pitchFamily="34" charset="0"/>
              </a:rPr>
              <a:t>Welcome New Faculty &amp; Staff</a:t>
            </a:r>
          </a:p>
        </p:txBody>
      </p:sp>
      <p:sp>
        <p:nvSpPr>
          <p:cNvPr id="9" name="Rectangle 9">
            <a:extLst>
              <a:ext uri="{FF2B5EF4-FFF2-40B4-BE49-F238E27FC236}">
                <a16:creationId xmlns:a16="http://schemas.microsoft.com/office/drawing/2014/main" id="{29C5912D-DD36-465B-BD92-BB0220505875}"/>
              </a:ext>
            </a:extLst>
          </p:cNvPr>
          <p:cNvSpPr/>
          <p:nvPr/>
        </p:nvSpPr>
        <p:spPr>
          <a:xfrm rot="10800000" flipH="1">
            <a:off x="366852" y="228614"/>
            <a:ext cx="1788160" cy="690775"/>
          </a:xfrm>
          <a:custGeom>
            <a:avLst/>
            <a:gdLst>
              <a:gd name="connsiteX0" fmla="*/ 0 w 1995342"/>
              <a:gd name="connsiteY0" fmla="*/ 0 h 690843"/>
              <a:gd name="connsiteX1" fmla="*/ 1995342 w 1995342"/>
              <a:gd name="connsiteY1" fmla="*/ 0 h 690843"/>
              <a:gd name="connsiteX2" fmla="*/ 1995342 w 1995342"/>
              <a:gd name="connsiteY2" fmla="*/ 690843 h 690843"/>
              <a:gd name="connsiteX3" fmla="*/ 0 w 1995342"/>
              <a:gd name="connsiteY3" fmla="*/ 690843 h 690843"/>
              <a:gd name="connsiteX4" fmla="*/ 0 w 1995342"/>
              <a:gd name="connsiteY4" fmla="*/ 0 h 690843"/>
              <a:gd name="connsiteX0" fmla="*/ 0 w 1995342"/>
              <a:gd name="connsiteY0" fmla="*/ 0 h 690843"/>
              <a:gd name="connsiteX1" fmla="*/ 1375630 w 1995342"/>
              <a:gd name="connsiteY1" fmla="*/ 0 h 690843"/>
              <a:gd name="connsiteX2" fmla="*/ 1995342 w 1995342"/>
              <a:gd name="connsiteY2" fmla="*/ 690843 h 690843"/>
              <a:gd name="connsiteX3" fmla="*/ 0 w 1995342"/>
              <a:gd name="connsiteY3" fmla="*/ 690843 h 690843"/>
              <a:gd name="connsiteX4" fmla="*/ 0 w 1995342"/>
              <a:gd name="connsiteY4" fmla="*/ 0 h 690843"/>
              <a:gd name="connsiteX0" fmla="*/ 0 w 1995342"/>
              <a:gd name="connsiteY0" fmla="*/ 0 h 690843"/>
              <a:gd name="connsiteX1" fmla="*/ 1427711 w 1995342"/>
              <a:gd name="connsiteY1" fmla="*/ 53873 h 690843"/>
              <a:gd name="connsiteX2" fmla="*/ 1995342 w 1995342"/>
              <a:gd name="connsiteY2" fmla="*/ 690843 h 690843"/>
              <a:gd name="connsiteX3" fmla="*/ 0 w 1995342"/>
              <a:gd name="connsiteY3" fmla="*/ 690843 h 690843"/>
              <a:gd name="connsiteX4" fmla="*/ 0 w 1995342"/>
              <a:gd name="connsiteY4" fmla="*/ 0 h 690843"/>
              <a:gd name="connsiteX0" fmla="*/ 26571 w 1995342"/>
              <a:gd name="connsiteY0" fmla="*/ 15898 h 636970"/>
              <a:gd name="connsiteX1" fmla="*/ 1427711 w 1995342"/>
              <a:gd name="connsiteY1" fmla="*/ 0 h 636970"/>
              <a:gd name="connsiteX2" fmla="*/ 1995342 w 1995342"/>
              <a:gd name="connsiteY2" fmla="*/ 636970 h 636970"/>
              <a:gd name="connsiteX3" fmla="*/ 0 w 1995342"/>
              <a:gd name="connsiteY3" fmla="*/ 636970 h 636970"/>
              <a:gd name="connsiteX4" fmla="*/ 26571 w 1995342"/>
              <a:gd name="connsiteY4" fmla="*/ 15898 h 636970"/>
              <a:gd name="connsiteX0" fmla="*/ 0 w 1995342"/>
              <a:gd name="connsiteY0" fmla="*/ 0 h 640502"/>
              <a:gd name="connsiteX1" fmla="*/ 1427711 w 1995342"/>
              <a:gd name="connsiteY1" fmla="*/ 3532 h 640502"/>
              <a:gd name="connsiteX2" fmla="*/ 1995342 w 1995342"/>
              <a:gd name="connsiteY2" fmla="*/ 640502 h 640502"/>
              <a:gd name="connsiteX3" fmla="*/ 0 w 1995342"/>
              <a:gd name="connsiteY3" fmla="*/ 640502 h 640502"/>
              <a:gd name="connsiteX4" fmla="*/ 0 w 1995342"/>
              <a:gd name="connsiteY4" fmla="*/ 0 h 640502"/>
              <a:gd name="connsiteX0" fmla="*/ 0 w 1995342"/>
              <a:gd name="connsiteY0" fmla="*/ 0 h 640502"/>
              <a:gd name="connsiteX1" fmla="*/ 1420271 w 1995342"/>
              <a:gd name="connsiteY1" fmla="*/ 1765 h 640502"/>
              <a:gd name="connsiteX2" fmla="*/ 1995342 w 1995342"/>
              <a:gd name="connsiteY2" fmla="*/ 640502 h 640502"/>
              <a:gd name="connsiteX3" fmla="*/ 0 w 1995342"/>
              <a:gd name="connsiteY3" fmla="*/ 640502 h 640502"/>
              <a:gd name="connsiteX4" fmla="*/ 0 w 1995342"/>
              <a:gd name="connsiteY4" fmla="*/ 0 h 640502"/>
              <a:gd name="connsiteX0" fmla="*/ 0 w 1995342"/>
              <a:gd name="connsiteY0" fmla="*/ 0 h 640502"/>
              <a:gd name="connsiteX1" fmla="*/ 1439402 w 1995342"/>
              <a:gd name="connsiteY1" fmla="*/ 3532 h 640502"/>
              <a:gd name="connsiteX2" fmla="*/ 1995342 w 1995342"/>
              <a:gd name="connsiteY2" fmla="*/ 640502 h 640502"/>
              <a:gd name="connsiteX3" fmla="*/ 0 w 1995342"/>
              <a:gd name="connsiteY3" fmla="*/ 640502 h 640502"/>
              <a:gd name="connsiteX4" fmla="*/ 0 w 1995342"/>
              <a:gd name="connsiteY4" fmla="*/ 0 h 640502"/>
              <a:gd name="connsiteX0" fmla="*/ 0 w 1995342"/>
              <a:gd name="connsiteY0" fmla="*/ 0 h 640502"/>
              <a:gd name="connsiteX1" fmla="*/ 1441528 w 1995342"/>
              <a:gd name="connsiteY1" fmla="*/ 1765 h 640502"/>
              <a:gd name="connsiteX2" fmla="*/ 1995342 w 1995342"/>
              <a:gd name="connsiteY2" fmla="*/ 640502 h 640502"/>
              <a:gd name="connsiteX3" fmla="*/ 0 w 1995342"/>
              <a:gd name="connsiteY3" fmla="*/ 640502 h 640502"/>
              <a:gd name="connsiteX4" fmla="*/ 0 w 1995342"/>
              <a:gd name="connsiteY4" fmla="*/ 0 h 640502"/>
              <a:gd name="connsiteX0" fmla="*/ 0 w 1995342"/>
              <a:gd name="connsiteY0" fmla="*/ 0 h 640502"/>
              <a:gd name="connsiteX1" fmla="*/ 1442591 w 1995342"/>
              <a:gd name="connsiteY1" fmla="*/ 882 h 640502"/>
              <a:gd name="connsiteX2" fmla="*/ 1995342 w 1995342"/>
              <a:gd name="connsiteY2" fmla="*/ 640502 h 640502"/>
              <a:gd name="connsiteX3" fmla="*/ 0 w 1995342"/>
              <a:gd name="connsiteY3" fmla="*/ 640502 h 640502"/>
              <a:gd name="connsiteX4" fmla="*/ 0 w 1995342"/>
              <a:gd name="connsiteY4" fmla="*/ 0 h 6405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95342" h="640502">
                <a:moveTo>
                  <a:pt x="0" y="0"/>
                </a:moveTo>
                <a:lnTo>
                  <a:pt x="1442591" y="882"/>
                </a:lnTo>
                <a:lnTo>
                  <a:pt x="1995342" y="640502"/>
                </a:lnTo>
                <a:lnTo>
                  <a:pt x="0" y="640502"/>
                </a:lnTo>
                <a:lnTo>
                  <a:pt x="0" y="0"/>
                </a:lnTo>
                <a:close/>
              </a:path>
            </a:pathLst>
          </a:custGeom>
          <a:ln>
            <a:noFill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sz="1100" dirty="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310AFB8C-5EFC-46C3-80EB-E130B6C0F852}"/>
              </a:ext>
            </a:extLst>
          </p:cNvPr>
          <p:cNvSpPr/>
          <p:nvPr/>
        </p:nvSpPr>
        <p:spPr>
          <a:xfrm>
            <a:off x="366852" y="1464615"/>
            <a:ext cx="6998224" cy="406765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ts val="2600"/>
              </a:lnSpc>
            </a:pPr>
            <a:r>
              <a:rPr lang="en-US" sz="1600" b="1" dirty="0">
                <a:latin typeface="Garamond" panose="02020404030301010803" pitchFamily="18" charset="0"/>
              </a:rPr>
              <a:t>Claudia Alvarado - </a:t>
            </a:r>
            <a:r>
              <a:rPr lang="en-US" sz="1600" dirty="0">
                <a:latin typeface="Garamond" panose="02020404030301010803" pitchFamily="18" charset="0"/>
              </a:rPr>
              <a:t>Career Resources Counseling Aide</a:t>
            </a:r>
          </a:p>
          <a:p>
            <a:pPr>
              <a:lnSpc>
                <a:spcPts val="2600"/>
              </a:lnSpc>
            </a:pPr>
            <a:r>
              <a:rPr lang="en-US" sz="1600" b="1" dirty="0">
                <a:latin typeface="Garamond" panose="02020404030301010803" pitchFamily="18" charset="0"/>
              </a:rPr>
              <a:t>Dr. </a:t>
            </a:r>
            <a:r>
              <a:rPr lang="en-US" sz="1600" b="1" dirty="0" err="1">
                <a:latin typeface="Garamond" panose="02020404030301010803" pitchFamily="18" charset="0"/>
              </a:rPr>
              <a:t>Wissem</a:t>
            </a:r>
            <a:r>
              <a:rPr lang="en-US" sz="1600" b="1" dirty="0">
                <a:latin typeface="Garamond" panose="02020404030301010803" pitchFamily="18" charset="0"/>
              </a:rPr>
              <a:t> </a:t>
            </a:r>
            <a:r>
              <a:rPr lang="en-US" sz="1600" b="1" dirty="0" err="1">
                <a:latin typeface="Garamond" panose="02020404030301010803" pitchFamily="18" charset="0"/>
              </a:rPr>
              <a:t>Bennani</a:t>
            </a:r>
            <a:r>
              <a:rPr lang="en-US" sz="1600" b="1" dirty="0">
                <a:latin typeface="Garamond" panose="02020404030301010803" pitchFamily="18" charset="0"/>
              </a:rPr>
              <a:t> - </a:t>
            </a:r>
            <a:r>
              <a:rPr lang="en-US" sz="1600" dirty="0">
                <a:latin typeface="Garamond" panose="02020404030301010803" pitchFamily="18" charset="0"/>
              </a:rPr>
              <a:t>Interim Dean, Enrollment Services &amp; Support Programs</a:t>
            </a:r>
          </a:p>
          <a:p>
            <a:pPr>
              <a:lnSpc>
                <a:spcPts val="2600"/>
              </a:lnSpc>
            </a:pPr>
            <a:r>
              <a:rPr lang="en-US" sz="1600" b="1" dirty="0">
                <a:latin typeface="Garamond" panose="02020404030301010803" pitchFamily="18" charset="0"/>
              </a:rPr>
              <a:t>Breanna Castro - </a:t>
            </a:r>
            <a:r>
              <a:rPr lang="en-US" sz="1600" dirty="0">
                <a:latin typeface="Garamond" panose="02020404030301010803" pitchFamily="18" charset="0"/>
              </a:rPr>
              <a:t>Financial Aid Technical Support Specialist </a:t>
            </a:r>
          </a:p>
          <a:p>
            <a:pPr>
              <a:lnSpc>
                <a:spcPts val="2600"/>
              </a:lnSpc>
            </a:pPr>
            <a:r>
              <a:rPr lang="en-US" sz="1600" b="1" dirty="0">
                <a:latin typeface="Garamond" panose="02020404030301010803" pitchFamily="18" charset="0"/>
              </a:rPr>
              <a:t>Marcos Chacon, Jr. - </a:t>
            </a:r>
            <a:r>
              <a:rPr lang="en-US" sz="1600" dirty="0">
                <a:latin typeface="Garamond" panose="02020404030301010803" pitchFamily="18" charset="0"/>
              </a:rPr>
              <a:t>Personal Counselor</a:t>
            </a:r>
          </a:p>
          <a:p>
            <a:pPr>
              <a:lnSpc>
                <a:spcPts val="2600"/>
              </a:lnSpc>
            </a:pPr>
            <a:r>
              <a:rPr lang="en-US" sz="1600" b="1" dirty="0">
                <a:latin typeface="Garamond" panose="02020404030301010803" pitchFamily="18" charset="0"/>
              </a:rPr>
              <a:t>Olivia Cortez-Figueroa - </a:t>
            </a:r>
            <a:r>
              <a:rPr lang="en-US" sz="1600" dirty="0">
                <a:latin typeface="Garamond" panose="02020404030301010803" pitchFamily="18" charset="0"/>
              </a:rPr>
              <a:t>College Recruiter</a:t>
            </a:r>
          </a:p>
          <a:p>
            <a:pPr>
              <a:lnSpc>
                <a:spcPts val="2600"/>
              </a:lnSpc>
            </a:pPr>
            <a:r>
              <a:rPr lang="en-US" sz="1600" b="1" dirty="0">
                <a:latin typeface="Garamond" panose="02020404030301010803" pitchFamily="18" charset="0"/>
              </a:rPr>
              <a:t>Dr. </a:t>
            </a:r>
            <a:r>
              <a:rPr lang="en-US" sz="1600" b="1" dirty="0" err="1">
                <a:latin typeface="Garamond" panose="02020404030301010803" pitchFamily="18" charset="0"/>
              </a:rPr>
              <a:t>Damany</a:t>
            </a:r>
            <a:r>
              <a:rPr lang="en-US" sz="1600" b="1" dirty="0">
                <a:latin typeface="Garamond" panose="02020404030301010803" pitchFamily="18" charset="0"/>
              </a:rPr>
              <a:t> Fisher - </a:t>
            </a:r>
            <a:r>
              <a:rPr lang="en-US" sz="1600" dirty="0">
                <a:latin typeface="Garamond" panose="02020404030301010803" pitchFamily="18" charset="0"/>
              </a:rPr>
              <a:t>Regional Director, Special Projects </a:t>
            </a:r>
          </a:p>
          <a:p>
            <a:pPr>
              <a:lnSpc>
                <a:spcPts val="2600"/>
              </a:lnSpc>
            </a:pPr>
            <a:r>
              <a:rPr lang="en-US" sz="1600" b="1" dirty="0">
                <a:latin typeface="Garamond" panose="02020404030301010803" pitchFamily="18" charset="0"/>
              </a:rPr>
              <a:t>Vincent Fitzgerald - </a:t>
            </a:r>
            <a:r>
              <a:rPr lang="en-US" sz="1600" dirty="0">
                <a:latin typeface="Garamond" panose="02020404030301010803" pitchFamily="18" charset="0"/>
              </a:rPr>
              <a:t>Learning Center Instructional Aide II</a:t>
            </a:r>
          </a:p>
          <a:p>
            <a:pPr>
              <a:lnSpc>
                <a:spcPts val="2600"/>
              </a:lnSpc>
            </a:pPr>
            <a:r>
              <a:rPr lang="en-US" sz="1600" b="1" dirty="0">
                <a:latin typeface="Garamond" panose="02020404030301010803" pitchFamily="18" charset="0"/>
              </a:rPr>
              <a:t>Andrea Garcia-</a:t>
            </a:r>
            <a:r>
              <a:rPr lang="en-US" sz="1600" b="1" dirty="0" err="1">
                <a:latin typeface="Garamond" panose="02020404030301010803" pitchFamily="18" charset="0"/>
              </a:rPr>
              <a:t>Rittgers</a:t>
            </a:r>
            <a:r>
              <a:rPr lang="en-US" sz="1600" dirty="0">
                <a:latin typeface="Garamond" panose="02020404030301010803" pitchFamily="18" charset="0"/>
              </a:rPr>
              <a:t> </a:t>
            </a:r>
            <a:r>
              <a:rPr lang="en-US" sz="1600" b="1" dirty="0">
                <a:latin typeface="Garamond" panose="02020404030301010803" pitchFamily="18" charset="0"/>
              </a:rPr>
              <a:t>-</a:t>
            </a:r>
            <a:r>
              <a:rPr lang="en-US" sz="1600" dirty="0">
                <a:latin typeface="Garamond" panose="02020404030301010803" pitchFamily="18" charset="0"/>
              </a:rPr>
              <a:t> Interim Director of Financial Aid Services</a:t>
            </a:r>
          </a:p>
          <a:p>
            <a:pPr>
              <a:lnSpc>
                <a:spcPts val="2600"/>
              </a:lnSpc>
            </a:pPr>
            <a:r>
              <a:rPr lang="en-US" sz="1600" b="1" dirty="0">
                <a:latin typeface="Garamond" panose="02020404030301010803" pitchFamily="18" charset="0"/>
              </a:rPr>
              <a:t>Nallely Gonzalez</a:t>
            </a:r>
            <a:r>
              <a:rPr lang="en-US" sz="1600" dirty="0">
                <a:latin typeface="Garamond" panose="02020404030301010803" pitchFamily="18" charset="0"/>
              </a:rPr>
              <a:t> </a:t>
            </a:r>
            <a:r>
              <a:rPr lang="en-US" sz="1600" b="1" dirty="0">
                <a:latin typeface="Garamond" panose="02020404030301010803" pitchFamily="18" charset="0"/>
              </a:rPr>
              <a:t>–</a:t>
            </a:r>
            <a:r>
              <a:rPr lang="en-US" sz="1600" dirty="0">
                <a:latin typeface="Garamond" panose="02020404030301010803" pitchFamily="18" charset="0"/>
              </a:rPr>
              <a:t> Welcome Center Office Assistant II</a:t>
            </a:r>
          </a:p>
          <a:p>
            <a:pPr>
              <a:lnSpc>
                <a:spcPts val="2600"/>
              </a:lnSpc>
            </a:pPr>
            <a:r>
              <a:rPr lang="en-US" sz="1600" b="1" dirty="0">
                <a:latin typeface="Garamond" panose="02020404030301010803" pitchFamily="18" charset="0"/>
              </a:rPr>
              <a:t>Eddy Harris -</a:t>
            </a:r>
            <a:r>
              <a:rPr lang="en-US" sz="1600" dirty="0">
                <a:latin typeface="Garamond" panose="02020404030301010803" pitchFamily="18" charset="0"/>
              </a:rPr>
              <a:t> Head Men’s Basketball Coach/Kinesiology Instructor </a:t>
            </a:r>
          </a:p>
          <a:p>
            <a:pPr>
              <a:lnSpc>
                <a:spcPts val="2600"/>
              </a:lnSpc>
            </a:pPr>
            <a:r>
              <a:rPr lang="en-US" sz="1600" b="1" dirty="0">
                <a:latin typeface="Garamond" panose="02020404030301010803" pitchFamily="18" charset="0"/>
              </a:rPr>
              <a:t>Nicole Kelly</a:t>
            </a:r>
            <a:r>
              <a:rPr lang="en-US" sz="1600" dirty="0">
                <a:latin typeface="Garamond" panose="02020404030301010803" pitchFamily="18" charset="0"/>
              </a:rPr>
              <a:t> </a:t>
            </a:r>
            <a:r>
              <a:rPr lang="en-US" sz="1600" b="1" dirty="0">
                <a:latin typeface="Garamond" panose="02020404030301010803" pitchFamily="18" charset="0"/>
              </a:rPr>
              <a:t>-</a:t>
            </a:r>
            <a:r>
              <a:rPr lang="en-US" sz="1600" dirty="0">
                <a:latin typeface="Garamond" panose="02020404030301010803" pitchFamily="18" charset="0"/>
              </a:rPr>
              <a:t> Regional Director, Global Trade</a:t>
            </a:r>
          </a:p>
          <a:p>
            <a:pPr>
              <a:lnSpc>
                <a:spcPts val="2600"/>
              </a:lnSpc>
            </a:pPr>
            <a:r>
              <a:rPr lang="en-US" sz="1600" b="1" dirty="0">
                <a:latin typeface="Garamond" panose="02020404030301010803" pitchFamily="18" charset="0"/>
              </a:rPr>
              <a:t>Kenna </a:t>
            </a:r>
            <a:r>
              <a:rPr lang="en-US" sz="1600" b="1" dirty="0" err="1">
                <a:latin typeface="Garamond" panose="02020404030301010803" pitchFamily="18" charset="0"/>
              </a:rPr>
              <a:t>Klass</a:t>
            </a:r>
            <a:r>
              <a:rPr lang="en-US" sz="1600" b="1" dirty="0">
                <a:latin typeface="Garamond" panose="02020404030301010803" pitchFamily="18" charset="0"/>
              </a:rPr>
              <a:t> - </a:t>
            </a:r>
            <a:r>
              <a:rPr lang="en-US" sz="1600" dirty="0">
                <a:latin typeface="Garamond" panose="02020404030301010803" pitchFamily="18" charset="0"/>
              </a:rPr>
              <a:t>STEM Retention Specialist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F9A2D679-4E3B-420C-8747-1E264C35590C}"/>
              </a:ext>
            </a:extLst>
          </p:cNvPr>
          <p:cNvSpPr/>
          <p:nvPr/>
        </p:nvSpPr>
        <p:spPr>
          <a:xfrm>
            <a:off x="7017237" y="1465237"/>
            <a:ext cx="5615338" cy="44010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ts val="2600"/>
              </a:lnSpc>
            </a:pPr>
            <a:r>
              <a:rPr lang="en-US" sz="1600" b="1" dirty="0">
                <a:latin typeface="Garamond" panose="02020404030301010803" pitchFamily="18" charset="0"/>
              </a:rPr>
              <a:t>Maria Lara-Blanco - </a:t>
            </a:r>
            <a:r>
              <a:rPr lang="en-US" sz="1600" dirty="0">
                <a:latin typeface="Garamond" panose="02020404030301010803" pitchFamily="18" charset="0"/>
              </a:rPr>
              <a:t>Interim Registrar</a:t>
            </a:r>
          </a:p>
          <a:p>
            <a:pPr>
              <a:lnSpc>
                <a:spcPts val="2600"/>
              </a:lnSpc>
            </a:pPr>
            <a:r>
              <a:rPr lang="en-US" sz="1600" b="1" dirty="0">
                <a:latin typeface="Garamond" panose="02020404030301010803" pitchFamily="18" charset="0"/>
              </a:rPr>
              <a:t>Michael </a:t>
            </a:r>
            <a:r>
              <a:rPr lang="en-US" sz="1600" b="1" dirty="0" err="1">
                <a:latin typeface="Garamond" panose="02020404030301010803" pitchFamily="18" charset="0"/>
              </a:rPr>
              <a:t>Limm</a:t>
            </a:r>
            <a:r>
              <a:rPr lang="en-US" sz="1600" b="1" dirty="0">
                <a:latin typeface="Garamond" panose="02020404030301010803" pitchFamily="18" charset="0"/>
              </a:rPr>
              <a:t> - </a:t>
            </a:r>
            <a:r>
              <a:rPr lang="en-US" sz="1600" dirty="0">
                <a:latin typeface="Garamond" panose="02020404030301010803" pitchFamily="18" charset="0"/>
              </a:rPr>
              <a:t>Biology Instructor </a:t>
            </a:r>
          </a:p>
          <a:p>
            <a:pPr>
              <a:lnSpc>
                <a:spcPts val="2600"/>
              </a:lnSpc>
            </a:pPr>
            <a:r>
              <a:rPr lang="en-US" sz="1600" b="1" dirty="0" err="1">
                <a:latin typeface="Garamond" panose="02020404030301010803" pitchFamily="18" charset="0"/>
              </a:rPr>
              <a:t>Betzaida</a:t>
            </a:r>
            <a:r>
              <a:rPr lang="en-US" sz="1600" b="1" dirty="0">
                <a:latin typeface="Garamond" panose="02020404030301010803" pitchFamily="18" charset="0"/>
              </a:rPr>
              <a:t> Lomeli Lopez - </a:t>
            </a:r>
            <a:r>
              <a:rPr lang="en-US" sz="1600" dirty="0">
                <a:latin typeface="Garamond" panose="02020404030301010803" pitchFamily="18" charset="0"/>
              </a:rPr>
              <a:t>Financial Aid Technician</a:t>
            </a:r>
          </a:p>
          <a:p>
            <a:pPr>
              <a:lnSpc>
                <a:spcPts val="2600"/>
              </a:lnSpc>
            </a:pPr>
            <a:r>
              <a:rPr lang="en-US" sz="1600" b="1" dirty="0">
                <a:latin typeface="Garamond" panose="02020404030301010803" pitchFamily="18" charset="0"/>
              </a:rPr>
              <a:t>Kristi Longoria - </a:t>
            </a:r>
            <a:r>
              <a:rPr lang="en-US" sz="1600" dirty="0" err="1">
                <a:latin typeface="Garamond" panose="02020404030301010803" pitchFamily="18" charset="0"/>
              </a:rPr>
              <a:t>SparkPoint</a:t>
            </a:r>
            <a:r>
              <a:rPr lang="en-US" sz="1600" dirty="0">
                <a:latin typeface="Garamond" panose="02020404030301010803" pitchFamily="18" charset="0"/>
              </a:rPr>
              <a:t> Coordinator </a:t>
            </a:r>
          </a:p>
          <a:p>
            <a:pPr>
              <a:lnSpc>
                <a:spcPts val="2600"/>
              </a:lnSpc>
            </a:pPr>
            <a:r>
              <a:rPr lang="en-US" sz="1600" b="1" dirty="0">
                <a:latin typeface="Garamond" panose="02020404030301010803" pitchFamily="18" charset="0"/>
              </a:rPr>
              <a:t>Kim Lopez - </a:t>
            </a:r>
            <a:r>
              <a:rPr lang="en-US" sz="1600" dirty="0">
                <a:latin typeface="Garamond" panose="02020404030301010803" pitchFamily="18" charset="0"/>
              </a:rPr>
              <a:t>Interim President</a:t>
            </a:r>
          </a:p>
          <a:p>
            <a:pPr>
              <a:lnSpc>
                <a:spcPts val="2600"/>
              </a:lnSpc>
            </a:pPr>
            <a:r>
              <a:rPr lang="en-US" sz="1600" b="1" dirty="0">
                <a:latin typeface="Garamond" panose="02020404030301010803" pitchFamily="18" charset="0"/>
              </a:rPr>
              <a:t>Kiran </a:t>
            </a:r>
            <a:r>
              <a:rPr lang="en-US" sz="1600" b="1" dirty="0" err="1">
                <a:latin typeface="Garamond" panose="02020404030301010803" pitchFamily="18" charset="0"/>
              </a:rPr>
              <a:t>Malavade</a:t>
            </a:r>
            <a:r>
              <a:rPr lang="en-US" sz="1600" b="1" dirty="0">
                <a:latin typeface="Garamond" panose="02020404030301010803" pitchFamily="18" charset="0"/>
              </a:rPr>
              <a:t> - </a:t>
            </a:r>
            <a:r>
              <a:rPr lang="en-US" sz="1600" dirty="0">
                <a:latin typeface="Garamond" panose="02020404030301010803" pitchFamily="18" charset="0"/>
              </a:rPr>
              <a:t>English Instructor</a:t>
            </a:r>
          </a:p>
          <a:p>
            <a:pPr>
              <a:lnSpc>
                <a:spcPts val="2600"/>
              </a:lnSpc>
            </a:pPr>
            <a:r>
              <a:rPr lang="en-US" sz="1600" b="1" dirty="0">
                <a:latin typeface="Garamond" panose="02020404030301010803" pitchFamily="18" charset="0"/>
              </a:rPr>
              <a:t>Jose Manzo - </a:t>
            </a:r>
            <a:r>
              <a:rPr lang="en-US" sz="1600" dirty="0" err="1">
                <a:latin typeface="Garamond" panose="02020404030301010803" pitchFamily="18" charset="0"/>
              </a:rPr>
              <a:t>EOPS</a:t>
            </a:r>
            <a:r>
              <a:rPr lang="en-US" sz="1600" dirty="0">
                <a:latin typeface="Garamond" panose="02020404030301010803" pitchFamily="18" charset="0"/>
              </a:rPr>
              <a:t> Counselor</a:t>
            </a:r>
          </a:p>
          <a:p>
            <a:pPr>
              <a:lnSpc>
                <a:spcPts val="2600"/>
              </a:lnSpc>
            </a:pPr>
            <a:r>
              <a:rPr lang="en-US" sz="1600" b="1" dirty="0">
                <a:latin typeface="Garamond" panose="02020404030301010803" pitchFamily="18" charset="0"/>
              </a:rPr>
              <a:t>Rosa Moncada –</a:t>
            </a:r>
            <a:r>
              <a:rPr lang="en-US" sz="1600" dirty="0">
                <a:latin typeface="Garamond" panose="02020404030301010803" pitchFamily="18" charset="0"/>
              </a:rPr>
              <a:t> VROC/Welcome Center Program Services Coordinator</a:t>
            </a:r>
          </a:p>
          <a:p>
            <a:pPr>
              <a:lnSpc>
                <a:spcPts val="2600"/>
              </a:lnSpc>
            </a:pPr>
            <a:r>
              <a:rPr lang="en-US" sz="1600" b="1" dirty="0">
                <a:latin typeface="Garamond" panose="02020404030301010803" pitchFamily="18" charset="0"/>
              </a:rPr>
              <a:t>Nicolette Navarrete – </a:t>
            </a:r>
            <a:r>
              <a:rPr lang="en-US" sz="1600" dirty="0">
                <a:latin typeface="Garamond" panose="02020404030301010803" pitchFamily="18" charset="0"/>
              </a:rPr>
              <a:t>DRC/PCC Office Assistant II</a:t>
            </a:r>
          </a:p>
          <a:p>
            <a:pPr>
              <a:lnSpc>
                <a:spcPts val="2600"/>
              </a:lnSpc>
            </a:pPr>
            <a:r>
              <a:rPr lang="en-US" sz="1600" b="1" dirty="0" err="1">
                <a:latin typeface="Garamond" panose="02020404030301010803" pitchFamily="18" charset="0"/>
              </a:rPr>
              <a:t>Jannet</a:t>
            </a:r>
            <a:r>
              <a:rPr lang="en-US" sz="1600" b="1" dirty="0">
                <a:latin typeface="Garamond" panose="02020404030301010803" pitchFamily="18" charset="0"/>
              </a:rPr>
              <a:t> Rios - </a:t>
            </a:r>
            <a:r>
              <a:rPr lang="en-US" sz="1600" dirty="0">
                <a:latin typeface="Garamond" panose="02020404030301010803" pitchFamily="18" charset="0"/>
              </a:rPr>
              <a:t>Dream Center Program Services Coordinator</a:t>
            </a:r>
          </a:p>
          <a:p>
            <a:pPr>
              <a:lnSpc>
                <a:spcPts val="2600"/>
              </a:lnSpc>
            </a:pPr>
            <a:r>
              <a:rPr lang="en-US" sz="1600" b="1" dirty="0">
                <a:latin typeface="Garamond" panose="02020404030301010803" pitchFamily="18" charset="0"/>
              </a:rPr>
              <a:t>Alessandro Riva - </a:t>
            </a:r>
            <a:r>
              <a:rPr lang="en-US" sz="1600" dirty="0">
                <a:latin typeface="Garamond" panose="02020404030301010803" pitchFamily="18" charset="0"/>
              </a:rPr>
              <a:t>Web Programmer Analyst </a:t>
            </a:r>
          </a:p>
          <a:p>
            <a:pPr>
              <a:lnSpc>
                <a:spcPts val="2600"/>
              </a:lnSpc>
            </a:pPr>
            <a:r>
              <a:rPr lang="en-US" sz="1600" b="1" dirty="0">
                <a:latin typeface="Garamond" panose="02020404030301010803" pitchFamily="18" charset="0"/>
              </a:rPr>
              <a:t>Mercedes White - </a:t>
            </a:r>
            <a:r>
              <a:rPr lang="en-US" sz="1600" dirty="0">
                <a:latin typeface="Garamond" panose="02020404030301010803" pitchFamily="18" charset="0"/>
              </a:rPr>
              <a:t>Program Services Coordinator</a:t>
            </a:r>
          </a:p>
        </p:txBody>
      </p:sp>
    </p:spTree>
    <p:extLst>
      <p:ext uri="{BB962C8B-B14F-4D97-AF65-F5344CB8AC3E}">
        <p14:creationId xmlns:p14="http://schemas.microsoft.com/office/powerpoint/2010/main" val="3631011714"/>
      </p:ext>
    </p:extLst>
  </p:cSld>
  <p:clrMapOvr>
    <a:masterClrMapping/>
  </p:clrMapOvr>
  <p:transition spd="slow">
    <p:cover/>
  </p:transition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ject 3"/>
          <p:cNvSpPr txBox="1"/>
          <p:nvPr/>
        </p:nvSpPr>
        <p:spPr>
          <a:xfrm>
            <a:off x="3267455" y="2073404"/>
            <a:ext cx="2743200" cy="3095078"/>
          </a:xfrm>
          <a:prstGeom prst="rect">
            <a:avLst/>
          </a:prstGeom>
          <a:solidFill>
            <a:srgbClr val="F4F4F4"/>
          </a:solidFill>
        </p:spPr>
        <p:txBody>
          <a:bodyPr vert="horz" wrap="square" lIns="0" tIns="1905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21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 New Roman"/>
              <a:ea typeface="+mn-ea"/>
              <a:cs typeface="Times New Roman"/>
            </a:endParaRPr>
          </a:p>
          <a:p>
            <a:pPr marL="597535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800" b="1" i="0" u="none" strike="noStrike" kern="1200" cap="none" spc="-5" normalizeH="0" baseline="0" noProof="0" dirty="0">
                <a:ln>
                  <a:noFill/>
                </a:ln>
                <a:solidFill>
                  <a:srgbClr val="417865"/>
                </a:solidFill>
                <a:effectLst/>
                <a:uLnTx/>
                <a:uFillTx/>
                <a:latin typeface="Century Gothic"/>
                <a:ea typeface="+mn-ea"/>
                <a:cs typeface="Century Gothic"/>
              </a:rPr>
              <a:t>SECOND</a:t>
            </a:r>
            <a:r>
              <a:rPr kumimoji="0" sz="1800" b="1" i="0" u="none" strike="noStrike" kern="1200" cap="none" spc="-20" normalizeH="0" baseline="0" noProof="0" dirty="0">
                <a:ln>
                  <a:noFill/>
                </a:ln>
                <a:solidFill>
                  <a:srgbClr val="417865"/>
                </a:solidFill>
                <a:effectLst/>
                <a:uLnTx/>
                <a:uFillTx/>
                <a:latin typeface="Century Gothic"/>
                <a:ea typeface="+mn-ea"/>
                <a:cs typeface="Century Gothic"/>
              </a:rPr>
              <a:t> </a:t>
            </a:r>
            <a:r>
              <a:rPr kumimoji="0" sz="1800" b="1" i="0" u="none" strike="noStrike" kern="1200" cap="none" spc="-5" normalizeH="0" baseline="0" noProof="0" dirty="0">
                <a:ln>
                  <a:noFill/>
                </a:ln>
                <a:solidFill>
                  <a:srgbClr val="417865"/>
                </a:solidFill>
                <a:effectLst/>
                <a:uLnTx/>
                <a:uFillTx/>
                <a:latin typeface="Century Gothic"/>
                <a:ea typeface="+mn-ea"/>
                <a:cs typeface="Century Gothic"/>
              </a:rPr>
              <a:t>SHIFT</a:t>
            </a:r>
            <a:endParaRPr kumimoji="0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/>
              <a:ea typeface="+mn-ea"/>
              <a:cs typeface="Century Gothic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7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/>
              <a:ea typeface="+mn-ea"/>
              <a:cs typeface="Century Gothic"/>
            </a:endParaRPr>
          </a:p>
          <a:p>
            <a:pPr marL="377190" marR="140970" lvl="0" indent="-285750" algn="l" defTabSz="914400" rtl="0" eaLnBrk="1" fontAlgn="auto" latinLnBrk="0" hangingPunct="1">
              <a:lnSpc>
                <a:spcPct val="100000"/>
              </a:lnSpc>
              <a:spcBef>
                <a:spcPts val="5"/>
              </a:spcBef>
              <a:spcAft>
                <a:spcPts val="0"/>
              </a:spcAft>
              <a:buClrTx/>
              <a:buSzTx/>
              <a:buFont typeface="Arial"/>
              <a:buChar char="•"/>
              <a:tabLst>
                <a:tab pos="377190" algn="l"/>
                <a:tab pos="377825" algn="l"/>
              </a:tabLst>
              <a:defRPr/>
            </a:pPr>
            <a:r>
              <a:rPr kumimoji="0" sz="1800" b="0" i="0" u="none" strike="noStrike" kern="1200" cap="none" spc="-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  <a:cs typeface="Century Gothic"/>
              </a:rPr>
              <a:t>Most full-time </a:t>
            </a:r>
            <a:r>
              <a: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  <a:cs typeface="Century Gothic"/>
              </a:rPr>
              <a:t> </a:t>
            </a:r>
            <a:r>
              <a:rPr kumimoji="0" sz="1800" b="0" i="0" u="none" strike="noStrike" kern="1200" cap="none" spc="-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  <a:cs typeface="Century Gothic"/>
              </a:rPr>
              <a:t>workers (55%) are </a:t>
            </a:r>
            <a:r>
              <a: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  <a:cs typeface="Century Gothic"/>
              </a:rPr>
              <a:t> </a:t>
            </a:r>
            <a:r>
              <a:rPr kumimoji="0" sz="1800" b="0" i="0" u="none" strike="noStrike" kern="1200" cap="none" spc="-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  <a:cs typeface="Century Gothic"/>
              </a:rPr>
              <a:t>caring for children </a:t>
            </a:r>
            <a:r>
              <a: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  <a:cs typeface="Century Gothic"/>
              </a:rPr>
              <a:t> </a:t>
            </a:r>
            <a:r>
              <a:rPr kumimoji="0" sz="1800" b="0" i="0" u="none" strike="noStrike" kern="1200" cap="none" spc="-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  <a:cs typeface="Century Gothic"/>
              </a:rPr>
              <a:t>more</a:t>
            </a:r>
            <a:r>
              <a:rPr kumimoji="0" sz="1800" b="0" i="0" u="none" strike="noStrike" kern="1200" cap="none" spc="-1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  <a:cs typeface="Century Gothic"/>
              </a:rPr>
              <a:t> </a:t>
            </a:r>
            <a:r>
              <a: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  <a:cs typeface="Century Gothic"/>
              </a:rPr>
              <a:t>than</a:t>
            </a:r>
            <a:r>
              <a:rPr kumimoji="0" sz="1800" b="0" i="0" u="none" strike="noStrike" kern="1200" cap="none" spc="-2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  <a:cs typeface="Century Gothic"/>
              </a:rPr>
              <a:t> </a:t>
            </a:r>
            <a:r>
              <a:rPr kumimoji="0" sz="1800" b="0" i="0" u="none" strike="noStrike" kern="1200" cap="none" spc="-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  <a:cs typeface="Century Gothic"/>
              </a:rPr>
              <a:t>8</a:t>
            </a:r>
            <a:r>
              <a:rPr kumimoji="0" sz="1800" b="0" i="0" u="none" strike="noStrike" kern="1200" cap="none" spc="-2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  <a:cs typeface="Century Gothic"/>
              </a:rPr>
              <a:t> </a:t>
            </a:r>
            <a:r>
              <a:rPr kumimoji="0" sz="1800" b="0" i="0" u="none" strike="noStrike" kern="1200" cap="none" spc="-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  <a:cs typeface="Century Gothic"/>
              </a:rPr>
              <a:t>hours a </a:t>
            </a:r>
            <a:r>
              <a:rPr kumimoji="0" sz="1800" b="0" i="0" u="none" strike="noStrike" kern="1200" cap="none" spc="-484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  <a:cs typeface="Century Gothic"/>
              </a:rPr>
              <a:t> </a:t>
            </a:r>
            <a:r>
              <a:rPr kumimoji="0" sz="1800" b="0" i="0" u="none" strike="noStrike" kern="1200" cap="none" spc="-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  <a:cs typeface="Century Gothic"/>
              </a:rPr>
              <a:t>day</a:t>
            </a:r>
            <a:r>
              <a:rPr kumimoji="0" sz="1800" b="0" i="0" u="none" strike="noStrike" kern="1200" cap="none" spc="-5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  <a:cs typeface="Century Gothic"/>
              </a:rPr>
              <a:t>.</a:t>
            </a:r>
            <a:endParaRPr kumimoji="0" lang="en-US" sz="1800" b="0" i="0" u="none" strike="noStrike" kern="1200" cap="none" spc="-5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/>
              <a:ea typeface="+mn-ea"/>
              <a:cs typeface="Century Gothic"/>
            </a:endParaRPr>
          </a:p>
          <a:p>
            <a:pPr marL="377190" marR="140970" lvl="0" indent="-285750" algn="l" defTabSz="914400" rtl="0" eaLnBrk="1" fontAlgn="auto" latinLnBrk="0" hangingPunct="1">
              <a:lnSpc>
                <a:spcPct val="100000"/>
              </a:lnSpc>
              <a:spcBef>
                <a:spcPts val="5"/>
              </a:spcBef>
              <a:spcAft>
                <a:spcPts val="0"/>
              </a:spcAft>
              <a:buClrTx/>
              <a:buSzTx/>
              <a:buFont typeface="Arial"/>
              <a:buChar char="•"/>
              <a:tabLst>
                <a:tab pos="377190" algn="l"/>
                <a:tab pos="377825" algn="l"/>
              </a:tabLst>
              <a:defRPr/>
            </a:pPr>
            <a:endParaRPr kumimoji="0" lang="en-US" sz="1800" b="0" i="0" u="none" strike="noStrike" kern="1200" cap="none" spc="-5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/>
              <a:ea typeface="+mn-ea"/>
              <a:cs typeface="Century Gothic"/>
            </a:endParaRPr>
          </a:p>
          <a:p>
            <a:pPr marL="377190" marR="140970" lvl="0" indent="-285750" algn="l" defTabSz="914400" rtl="0" eaLnBrk="1" fontAlgn="auto" latinLnBrk="0" hangingPunct="1">
              <a:lnSpc>
                <a:spcPct val="100000"/>
              </a:lnSpc>
              <a:spcBef>
                <a:spcPts val="5"/>
              </a:spcBef>
              <a:spcAft>
                <a:spcPts val="0"/>
              </a:spcAft>
              <a:buClrTx/>
              <a:buSzTx/>
              <a:buFont typeface="Arial"/>
              <a:buChar char="•"/>
              <a:tabLst>
                <a:tab pos="377190" algn="l"/>
                <a:tab pos="377825" algn="l"/>
              </a:tabLst>
              <a:defRPr/>
            </a:pPr>
            <a:endParaRPr kumimoji="0" lang="en-US" sz="1800" b="0" i="0" u="none" strike="noStrike" kern="1200" cap="none" spc="-5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/>
              <a:ea typeface="+mn-ea"/>
              <a:cs typeface="Century Gothic"/>
            </a:endParaRPr>
          </a:p>
          <a:p>
            <a:pPr marL="377190" marR="140970" lvl="0" indent="-285750" algn="l" defTabSz="914400" rtl="0" eaLnBrk="1" fontAlgn="auto" latinLnBrk="0" hangingPunct="1">
              <a:lnSpc>
                <a:spcPct val="100000"/>
              </a:lnSpc>
              <a:spcBef>
                <a:spcPts val="5"/>
              </a:spcBef>
              <a:spcAft>
                <a:spcPts val="0"/>
              </a:spcAft>
              <a:buClrTx/>
              <a:buSzTx/>
              <a:buFont typeface="Arial"/>
              <a:buChar char="•"/>
              <a:tabLst>
                <a:tab pos="377190" algn="l"/>
                <a:tab pos="377825" algn="l"/>
              </a:tabLst>
              <a:defRPr/>
            </a:pPr>
            <a:endParaRPr kumimoji="0" lang="en-US" sz="1800" b="0" i="0" u="none" strike="noStrike" kern="1200" cap="none" spc="-5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/>
              <a:ea typeface="+mn-ea"/>
              <a:cs typeface="Century Gothic"/>
            </a:endParaRPr>
          </a:p>
        </p:txBody>
      </p:sp>
      <p:sp>
        <p:nvSpPr>
          <p:cNvPr id="4" name="object 4"/>
          <p:cNvSpPr txBox="1"/>
          <p:nvPr/>
        </p:nvSpPr>
        <p:spPr>
          <a:xfrm>
            <a:off x="6228588" y="2073403"/>
            <a:ext cx="2743200" cy="3095078"/>
          </a:xfrm>
          <a:prstGeom prst="rect">
            <a:avLst/>
          </a:prstGeom>
          <a:solidFill>
            <a:srgbClr val="F4F4F4"/>
          </a:solidFill>
        </p:spPr>
        <p:txBody>
          <a:bodyPr vert="horz" wrap="square" lIns="0" tIns="1905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21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 New Roman"/>
              <a:ea typeface="+mn-ea"/>
              <a:cs typeface="Times New Roman"/>
            </a:endParaRPr>
          </a:p>
          <a:p>
            <a:pPr marL="90678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800" b="1" i="0" u="none" strike="noStrike" kern="1200" cap="none" spc="0" normalizeH="0" baseline="0" noProof="0" dirty="0">
                <a:ln>
                  <a:noFill/>
                </a:ln>
                <a:solidFill>
                  <a:srgbClr val="417865"/>
                </a:solidFill>
                <a:effectLst/>
                <a:uLnTx/>
                <a:uFillTx/>
                <a:latin typeface="Century Gothic"/>
                <a:ea typeface="+mn-ea"/>
                <a:cs typeface="Century Gothic"/>
              </a:rPr>
              <a:t>INCOME</a:t>
            </a:r>
            <a:endParaRPr kumimoji="0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/>
              <a:ea typeface="+mn-ea"/>
              <a:cs typeface="Century Gothic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7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/>
              <a:ea typeface="+mn-ea"/>
              <a:cs typeface="Century Gothic"/>
            </a:endParaRPr>
          </a:p>
          <a:p>
            <a:pPr marL="377190" marR="135890" lvl="0" indent="-285750" algn="l" defTabSz="914400" rtl="0" eaLnBrk="1" fontAlgn="auto" latinLnBrk="0" hangingPunct="1">
              <a:lnSpc>
                <a:spcPct val="100000"/>
              </a:lnSpc>
              <a:spcBef>
                <a:spcPts val="5"/>
              </a:spcBef>
              <a:spcAft>
                <a:spcPts val="0"/>
              </a:spcAft>
              <a:buClrTx/>
              <a:buSzTx/>
              <a:buFont typeface="Arial"/>
              <a:buChar char="•"/>
              <a:tabLst>
                <a:tab pos="377190" algn="l"/>
                <a:tab pos="377825" algn="l"/>
              </a:tabLst>
              <a:defRPr/>
            </a:pPr>
            <a:r>
              <a:rPr kumimoji="0" sz="1800" b="0" i="0" u="none" strike="noStrike" kern="1200" cap="none" spc="-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  <a:cs typeface="Century Gothic"/>
              </a:rPr>
              <a:t>Unemployment</a:t>
            </a:r>
            <a:r>
              <a:rPr kumimoji="0" sz="1800" b="0" i="0" u="none" strike="noStrike" kern="1200" cap="none" spc="-5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  <a:cs typeface="Century Gothic"/>
              </a:rPr>
              <a:t> </a:t>
            </a:r>
            <a:r>
              <a: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  <a:cs typeface="Century Gothic"/>
              </a:rPr>
              <a:t>and </a:t>
            </a:r>
            <a:r>
              <a:rPr kumimoji="0" sz="1800" b="0" i="0" u="none" strike="noStrike" kern="1200" cap="none" spc="-484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  <a:cs typeface="Century Gothic"/>
              </a:rPr>
              <a:t> </a:t>
            </a:r>
            <a:r>
              <a:rPr kumimoji="0" sz="1800" b="0" i="0" u="none" strike="noStrike" kern="1200" cap="none" spc="-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  <a:cs typeface="Century Gothic"/>
              </a:rPr>
              <a:t>furlough rates have </a:t>
            </a:r>
            <a:r>
              <a: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  <a:cs typeface="Century Gothic"/>
              </a:rPr>
              <a:t> </a:t>
            </a:r>
            <a:r>
              <a:rPr kumimoji="0" sz="1800" b="0" i="0" u="none" strike="noStrike" kern="1200" cap="none" spc="-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  <a:cs typeface="Century Gothic"/>
              </a:rPr>
              <a:t>doubled</a:t>
            </a:r>
            <a:r>
              <a: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  <a:cs typeface="Century Gothic"/>
              </a:rPr>
              <a:t> </a:t>
            </a:r>
            <a:r>
              <a:rPr kumimoji="0" sz="1800" b="0" i="0" u="none" strike="noStrike" kern="1200" cap="none" spc="-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  <a:cs typeface="Century Gothic"/>
              </a:rPr>
              <a:t>since </a:t>
            </a:r>
            <a:r>
              <a: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  <a:cs typeface="Century Gothic"/>
              </a:rPr>
              <a:t> </a:t>
            </a:r>
            <a:r>
              <a:rPr kumimoji="0" sz="1800" b="0" i="0" u="none" strike="noStrike" kern="1200" cap="none" spc="-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  <a:cs typeface="Century Gothic"/>
              </a:rPr>
              <a:t>COVID</a:t>
            </a:r>
            <a:r>
              <a:rPr kumimoji="0" sz="1800" b="0" i="0" u="none" strike="noStrike" kern="1200" cap="none" spc="-5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  <a:cs typeface="Century Gothic"/>
              </a:rPr>
              <a:t>.</a:t>
            </a:r>
            <a:endParaRPr kumimoji="0" lang="en-US" sz="1800" b="0" i="0" u="none" strike="noStrike" kern="1200" cap="none" spc="-5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/>
              <a:ea typeface="+mn-ea"/>
              <a:cs typeface="Century Gothic"/>
            </a:endParaRPr>
          </a:p>
          <a:p>
            <a:pPr marL="377190" marR="135890" lvl="0" indent="-285750" algn="l" defTabSz="914400" rtl="0" eaLnBrk="1" fontAlgn="auto" latinLnBrk="0" hangingPunct="1">
              <a:lnSpc>
                <a:spcPct val="100000"/>
              </a:lnSpc>
              <a:spcBef>
                <a:spcPts val="5"/>
              </a:spcBef>
              <a:spcAft>
                <a:spcPts val="0"/>
              </a:spcAft>
              <a:buClrTx/>
              <a:buSzTx/>
              <a:buFont typeface="Arial"/>
              <a:buChar char="•"/>
              <a:tabLst>
                <a:tab pos="377190" algn="l"/>
                <a:tab pos="377825" algn="l"/>
              </a:tabLst>
              <a:defRPr/>
            </a:pPr>
            <a:endParaRPr kumimoji="0" lang="en-US" sz="1800" b="0" i="0" u="none" strike="noStrike" kern="1200" cap="none" spc="-5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/>
              <a:ea typeface="+mn-ea"/>
              <a:cs typeface="Century Gothic"/>
            </a:endParaRPr>
          </a:p>
          <a:p>
            <a:pPr marL="377190" marR="135890" lvl="0" indent="-285750" algn="l" defTabSz="914400" rtl="0" eaLnBrk="1" fontAlgn="auto" latinLnBrk="0" hangingPunct="1">
              <a:lnSpc>
                <a:spcPct val="100000"/>
              </a:lnSpc>
              <a:spcBef>
                <a:spcPts val="5"/>
              </a:spcBef>
              <a:spcAft>
                <a:spcPts val="0"/>
              </a:spcAft>
              <a:buClrTx/>
              <a:buSzTx/>
              <a:buFont typeface="Arial"/>
              <a:buChar char="•"/>
              <a:tabLst>
                <a:tab pos="377190" algn="l"/>
                <a:tab pos="377825" algn="l"/>
              </a:tabLst>
              <a:defRPr/>
            </a:pPr>
            <a:endParaRPr kumimoji="0" lang="en-US" sz="1800" b="0" i="0" u="none" strike="noStrike" kern="1200" cap="none" spc="-5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/>
              <a:ea typeface="+mn-ea"/>
              <a:cs typeface="Century Gothic"/>
            </a:endParaRPr>
          </a:p>
          <a:p>
            <a:pPr marL="377190" marR="135890" lvl="0" indent="-285750" algn="l" defTabSz="914400" rtl="0" eaLnBrk="1" fontAlgn="auto" latinLnBrk="0" hangingPunct="1">
              <a:lnSpc>
                <a:spcPct val="100000"/>
              </a:lnSpc>
              <a:spcBef>
                <a:spcPts val="5"/>
              </a:spcBef>
              <a:spcAft>
                <a:spcPts val="0"/>
              </a:spcAft>
              <a:buClrTx/>
              <a:buSzTx/>
              <a:buFont typeface="Arial"/>
              <a:buChar char="•"/>
              <a:tabLst>
                <a:tab pos="377190" algn="l"/>
                <a:tab pos="377825" algn="l"/>
              </a:tabLst>
              <a:defRPr/>
            </a:pPr>
            <a:endParaRPr kumimoji="0" lang="en-US" sz="1800" b="0" i="0" u="none" strike="noStrike" kern="1200" cap="none" spc="-5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/>
              <a:ea typeface="+mn-ea"/>
              <a:cs typeface="Century Gothic"/>
            </a:endParaRPr>
          </a:p>
          <a:p>
            <a:pPr marL="91440" marR="135890" lvl="0" indent="0" algn="l" defTabSz="914400" rtl="0" eaLnBrk="1" fontAlgn="auto" latinLnBrk="0" hangingPunct="1">
              <a:lnSpc>
                <a:spcPct val="100000"/>
              </a:lnSpc>
              <a:spcBef>
                <a:spcPts val="5"/>
              </a:spcBef>
              <a:spcAft>
                <a:spcPts val="0"/>
              </a:spcAft>
              <a:buClrTx/>
              <a:buSzTx/>
              <a:buFontTx/>
              <a:buNone/>
              <a:tabLst>
                <a:tab pos="377190" algn="l"/>
                <a:tab pos="377825" algn="l"/>
              </a:tabLst>
              <a:defRPr/>
            </a:pPr>
            <a:endParaRPr kumimoji="0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/>
              <a:ea typeface="+mn-ea"/>
              <a:cs typeface="Century Gothic"/>
            </a:endParaRPr>
          </a:p>
        </p:txBody>
      </p:sp>
      <p:grpSp>
        <p:nvGrpSpPr>
          <p:cNvPr id="5" name="object 5"/>
          <p:cNvGrpSpPr/>
          <p:nvPr/>
        </p:nvGrpSpPr>
        <p:grpSpPr>
          <a:xfrm>
            <a:off x="1835381" y="4084180"/>
            <a:ext cx="1050925" cy="1508125"/>
            <a:chOff x="374397" y="4488826"/>
            <a:chExt cx="1050925" cy="1508125"/>
          </a:xfrm>
        </p:grpSpPr>
        <p:sp>
          <p:nvSpPr>
            <p:cNvPr id="6" name="object 6"/>
            <p:cNvSpPr/>
            <p:nvPr/>
          </p:nvSpPr>
          <p:spPr>
            <a:xfrm>
              <a:off x="1079242" y="5554225"/>
              <a:ext cx="226060" cy="434340"/>
            </a:xfrm>
            <a:custGeom>
              <a:avLst/>
              <a:gdLst/>
              <a:ahLst/>
              <a:cxnLst/>
              <a:rect l="l" t="t" r="r" b="b"/>
              <a:pathLst>
                <a:path w="226059" h="434339">
                  <a:moveTo>
                    <a:pt x="225468" y="433911"/>
                  </a:moveTo>
                  <a:lnTo>
                    <a:pt x="0" y="433911"/>
                  </a:lnTo>
                  <a:lnTo>
                    <a:pt x="0" y="18845"/>
                  </a:lnTo>
                  <a:lnTo>
                    <a:pt x="1477" y="11512"/>
                  </a:lnTo>
                  <a:lnTo>
                    <a:pt x="5505" y="5521"/>
                  </a:lnTo>
                  <a:lnTo>
                    <a:pt x="11477" y="1481"/>
                  </a:lnTo>
                  <a:lnTo>
                    <a:pt x="18789" y="0"/>
                  </a:lnTo>
                  <a:lnTo>
                    <a:pt x="26100" y="1481"/>
                  </a:lnTo>
                  <a:lnTo>
                    <a:pt x="32072" y="5521"/>
                  </a:lnTo>
                  <a:lnTo>
                    <a:pt x="36100" y="11512"/>
                  </a:lnTo>
                  <a:lnTo>
                    <a:pt x="37578" y="18845"/>
                  </a:lnTo>
                  <a:lnTo>
                    <a:pt x="37578" y="396221"/>
                  </a:lnTo>
                  <a:lnTo>
                    <a:pt x="93945" y="396221"/>
                  </a:lnTo>
                  <a:lnTo>
                    <a:pt x="93945" y="188923"/>
                  </a:lnTo>
                  <a:lnTo>
                    <a:pt x="131523" y="188923"/>
                  </a:lnTo>
                  <a:lnTo>
                    <a:pt x="131523" y="396221"/>
                  </a:lnTo>
                  <a:lnTo>
                    <a:pt x="187890" y="396221"/>
                  </a:lnTo>
                  <a:lnTo>
                    <a:pt x="187890" y="87046"/>
                  </a:lnTo>
                  <a:lnTo>
                    <a:pt x="189367" y="79713"/>
                  </a:lnTo>
                  <a:lnTo>
                    <a:pt x="193395" y="73722"/>
                  </a:lnTo>
                  <a:lnTo>
                    <a:pt x="199368" y="69682"/>
                  </a:lnTo>
                  <a:lnTo>
                    <a:pt x="206679" y="68200"/>
                  </a:lnTo>
                  <a:lnTo>
                    <a:pt x="213990" y="69682"/>
                  </a:lnTo>
                  <a:lnTo>
                    <a:pt x="219963" y="73722"/>
                  </a:lnTo>
                  <a:lnTo>
                    <a:pt x="223991" y="79713"/>
                  </a:lnTo>
                  <a:lnTo>
                    <a:pt x="225468" y="87046"/>
                  </a:lnTo>
                  <a:lnTo>
                    <a:pt x="225468" y="433911"/>
                  </a:lnTo>
                  <a:close/>
                </a:path>
              </a:pathLst>
            </a:custGeom>
            <a:solidFill>
              <a:srgbClr val="D1660F"/>
            </a:solid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pic>
          <p:nvPicPr>
            <p:cNvPr id="7" name="object 7"/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1098031" y="5253021"/>
              <a:ext cx="187890" cy="188452"/>
            </a:xfrm>
            <a:prstGeom prst="rect">
              <a:avLst/>
            </a:prstGeom>
          </p:spPr>
        </p:pic>
        <p:sp>
          <p:nvSpPr>
            <p:cNvPr id="8" name="object 8"/>
            <p:cNvSpPr/>
            <p:nvPr/>
          </p:nvSpPr>
          <p:spPr>
            <a:xfrm>
              <a:off x="374396" y="4488827"/>
              <a:ext cx="1050925" cy="1508125"/>
            </a:xfrm>
            <a:custGeom>
              <a:avLst/>
              <a:gdLst/>
              <a:ahLst/>
              <a:cxnLst/>
              <a:rect l="l" t="t" r="r" b="b"/>
              <a:pathLst>
                <a:path w="1050925" h="1508125">
                  <a:moveTo>
                    <a:pt x="433247" y="131927"/>
                  </a:moveTo>
                  <a:lnTo>
                    <a:pt x="426542" y="90220"/>
                  </a:lnTo>
                  <a:lnTo>
                    <a:pt x="407873" y="54013"/>
                  </a:lnTo>
                  <a:lnTo>
                    <a:pt x="395668" y="41770"/>
                  </a:lnTo>
                  <a:lnTo>
                    <a:pt x="395668" y="131927"/>
                  </a:lnTo>
                  <a:lnTo>
                    <a:pt x="388277" y="168592"/>
                  </a:lnTo>
                  <a:lnTo>
                    <a:pt x="368147" y="198551"/>
                  </a:lnTo>
                  <a:lnTo>
                    <a:pt x="338289" y="218744"/>
                  </a:lnTo>
                  <a:lnTo>
                    <a:pt x="301726" y="226148"/>
                  </a:lnTo>
                  <a:lnTo>
                    <a:pt x="265163" y="218744"/>
                  </a:lnTo>
                  <a:lnTo>
                    <a:pt x="235292" y="198551"/>
                  </a:lnTo>
                  <a:lnTo>
                    <a:pt x="215163" y="168592"/>
                  </a:lnTo>
                  <a:lnTo>
                    <a:pt x="207772" y="131927"/>
                  </a:lnTo>
                  <a:lnTo>
                    <a:pt x="215188" y="95262"/>
                  </a:lnTo>
                  <a:lnTo>
                    <a:pt x="235318" y="65328"/>
                  </a:lnTo>
                  <a:lnTo>
                    <a:pt x="265176" y="45123"/>
                  </a:lnTo>
                  <a:lnTo>
                    <a:pt x="301726" y="37693"/>
                  </a:lnTo>
                  <a:lnTo>
                    <a:pt x="338289" y="45097"/>
                  </a:lnTo>
                  <a:lnTo>
                    <a:pt x="368147" y="65303"/>
                  </a:lnTo>
                  <a:lnTo>
                    <a:pt x="388277" y="95250"/>
                  </a:lnTo>
                  <a:lnTo>
                    <a:pt x="395668" y="131927"/>
                  </a:lnTo>
                  <a:lnTo>
                    <a:pt x="395668" y="41770"/>
                  </a:lnTo>
                  <a:lnTo>
                    <a:pt x="391604" y="37693"/>
                  </a:lnTo>
                  <a:lnTo>
                    <a:pt x="379399" y="25463"/>
                  </a:lnTo>
                  <a:lnTo>
                    <a:pt x="343293" y="6731"/>
                  </a:lnTo>
                  <a:lnTo>
                    <a:pt x="301726" y="0"/>
                  </a:lnTo>
                  <a:lnTo>
                    <a:pt x="260146" y="6731"/>
                  </a:lnTo>
                  <a:lnTo>
                    <a:pt x="224040" y="25463"/>
                  </a:lnTo>
                  <a:lnTo>
                    <a:pt x="195580" y="54013"/>
                  </a:lnTo>
                  <a:lnTo>
                    <a:pt x="176898" y="90220"/>
                  </a:lnTo>
                  <a:lnTo>
                    <a:pt x="170192" y="131927"/>
                  </a:lnTo>
                  <a:lnTo>
                    <a:pt x="176936" y="173596"/>
                  </a:lnTo>
                  <a:lnTo>
                    <a:pt x="195618" y="209791"/>
                  </a:lnTo>
                  <a:lnTo>
                    <a:pt x="224078" y="238340"/>
                  </a:lnTo>
                  <a:lnTo>
                    <a:pt x="260172" y="257086"/>
                  </a:lnTo>
                  <a:lnTo>
                    <a:pt x="301726" y="263842"/>
                  </a:lnTo>
                  <a:lnTo>
                    <a:pt x="343293" y="257111"/>
                  </a:lnTo>
                  <a:lnTo>
                    <a:pt x="379399" y="238391"/>
                  </a:lnTo>
                  <a:lnTo>
                    <a:pt x="391604" y="226148"/>
                  </a:lnTo>
                  <a:lnTo>
                    <a:pt x="407873" y="209829"/>
                  </a:lnTo>
                  <a:lnTo>
                    <a:pt x="426542" y="173621"/>
                  </a:lnTo>
                  <a:lnTo>
                    <a:pt x="433247" y="131927"/>
                  </a:lnTo>
                  <a:close/>
                </a:path>
                <a:path w="1050925" h="1508125">
                  <a:moveTo>
                    <a:pt x="452056" y="527278"/>
                  </a:moveTo>
                  <a:lnTo>
                    <a:pt x="450570" y="519938"/>
                  </a:lnTo>
                  <a:lnTo>
                    <a:pt x="446544" y="513956"/>
                  </a:lnTo>
                  <a:lnTo>
                    <a:pt x="440575" y="509917"/>
                  </a:lnTo>
                  <a:lnTo>
                    <a:pt x="433260" y="508431"/>
                  </a:lnTo>
                  <a:lnTo>
                    <a:pt x="425958" y="509917"/>
                  </a:lnTo>
                  <a:lnTo>
                    <a:pt x="419976" y="513956"/>
                  </a:lnTo>
                  <a:lnTo>
                    <a:pt x="415950" y="519938"/>
                  </a:lnTo>
                  <a:lnTo>
                    <a:pt x="414477" y="527278"/>
                  </a:lnTo>
                  <a:lnTo>
                    <a:pt x="414286" y="1469936"/>
                  </a:lnTo>
                  <a:lnTo>
                    <a:pt x="320509" y="1469936"/>
                  </a:lnTo>
                  <a:lnTo>
                    <a:pt x="320509" y="942263"/>
                  </a:lnTo>
                  <a:lnTo>
                    <a:pt x="282930" y="942263"/>
                  </a:lnTo>
                  <a:lnTo>
                    <a:pt x="282930" y="1469936"/>
                  </a:lnTo>
                  <a:lnTo>
                    <a:pt x="188988" y="1469936"/>
                  </a:lnTo>
                  <a:lnTo>
                    <a:pt x="188988" y="527278"/>
                  </a:lnTo>
                  <a:lnTo>
                    <a:pt x="170192" y="508431"/>
                  </a:lnTo>
                  <a:lnTo>
                    <a:pt x="162890" y="509917"/>
                  </a:lnTo>
                  <a:lnTo>
                    <a:pt x="156908" y="513956"/>
                  </a:lnTo>
                  <a:lnTo>
                    <a:pt x="152882" y="519938"/>
                  </a:lnTo>
                  <a:lnTo>
                    <a:pt x="151409" y="527278"/>
                  </a:lnTo>
                  <a:lnTo>
                    <a:pt x="151409" y="1507629"/>
                  </a:lnTo>
                  <a:lnTo>
                    <a:pt x="451866" y="1507629"/>
                  </a:lnTo>
                  <a:lnTo>
                    <a:pt x="452056" y="527278"/>
                  </a:lnTo>
                  <a:close/>
                </a:path>
                <a:path w="1050925" h="1508125">
                  <a:moveTo>
                    <a:pt x="1050531" y="1265669"/>
                  </a:moveTo>
                  <a:lnTo>
                    <a:pt x="1046137" y="1239850"/>
                  </a:lnTo>
                  <a:lnTo>
                    <a:pt x="1045730" y="1238783"/>
                  </a:lnTo>
                  <a:lnTo>
                    <a:pt x="1045502" y="1238250"/>
                  </a:lnTo>
                  <a:lnTo>
                    <a:pt x="975550" y="1069911"/>
                  </a:lnTo>
                  <a:lnTo>
                    <a:pt x="951115" y="1037577"/>
                  </a:lnTo>
                  <a:lnTo>
                    <a:pt x="911212" y="1005166"/>
                  </a:lnTo>
                  <a:lnTo>
                    <a:pt x="871118" y="985215"/>
                  </a:lnTo>
                  <a:lnTo>
                    <a:pt x="815530" y="973493"/>
                  </a:lnTo>
                  <a:lnTo>
                    <a:pt x="805268" y="972934"/>
                  </a:lnTo>
                  <a:lnTo>
                    <a:pt x="703237" y="972934"/>
                  </a:lnTo>
                  <a:lnTo>
                    <a:pt x="642289" y="882738"/>
                  </a:lnTo>
                  <a:lnTo>
                    <a:pt x="610628" y="835888"/>
                  </a:lnTo>
                  <a:lnTo>
                    <a:pt x="606399" y="833056"/>
                  </a:lnTo>
                  <a:lnTo>
                    <a:pt x="601599" y="832116"/>
                  </a:lnTo>
                  <a:lnTo>
                    <a:pt x="566051" y="459994"/>
                  </a:lnTo>
                  <a:lnTo>
                    <a:pt x="551459" y="418414"/>
                  </a:lnTo>
                  <a:lnTo>
                    <a:pt x="511949" y="377532"/>
                  </a:lnTo>
                  <a:lnTo>
                    <a:pt x="479526" y="353822"/>
                  </a:lnTo>
                  <a:lnTo>
                    <a:pt x="453263" y="339191"/>
                  </a:lnTo>
                  <a:lnTo>
                    <a:pt x="444538" y="334327"/>
                  </a:lnTo>
                  <a:lnTo>
                    <a:pt x="407085" y="319163"/>
                  </a:lnTo>
                  <a:lnTo>
                    <a:pt x="355219" y="305943"/>
                  </a:lnTo>
                  <a:lnTo>
                    <a:pt x="301866" y="301536"/>
                  </a:lnTo>
                  <a:lnTo>
                    <a:pt x="275094" y="302717"/>
                  </a:lnTo>
                  <a:lnTo>
                    <a:pt x="222364" y="311518"/>
                  </a:lnTo>
                  <a:lnTo>
                    <a:pt x="158978" y="334327"/>
                  </a:lnTo>
                  <a:lnTo>
                    <a:pt x="123609" y="354076"/>
                  </a:lnTo>
                  <a:lnTo>
                    <a:pt x="90944" y="378040"/>
                  </a:lnTo>
                  <a:lnTo>
                    <a:pt x="61417" y="405930"/>
                  </a:lnTo>
                  <a:lnTo>
                    <a:pt x="41109" y="442861"/>
                  </a:lnTo>
                  <a:lnTo>
                    <a:pt x="1879" y="832116"/>
                  </a:lnTo>
                  <a:lnTo>
                    <a:pt x="0" y="851204"/>
                  </a:lnTo>
                  <a:lnTo>
                    <a:pt x="17183" y="901128"/>
                  </a:lnTo>
                  <a:lnTo>
                    <a:pt x="56756" y="922604"/>
                  </a:lnTo>
                  <a:lnTo>
                    <a:pt x="72097" y="923417"/>
                  </a:lnTo>
                  <a:lnTo>
                    <a:pt x="79413" y="921943"/>
                  </a:lnTo>
                  <a:lnTo>
                    <a:pt x="85382" y="917905"/>
                  </a:lnTo>
                  <a:lnTo>
                    <a:pt x="89408" y="911910"/>
                  </a:lnTo>
                  <a:lnTo>
                    <a:pt x="90893" y="904582"/>
                  </a:lnTo>
                  <a:lnTo>
                    <a:pt x="89408" y="897242"/>
                  </a:lnTo>
                  <a:lnTo>
                    <a:pt x="85382" y="891260"/>
                  </a:lnTo>
                  <a:lnTo>
                    <a:pt x="79413" y="887209"/>
                  </a:lnTo>
                  <a:lnTo>
                    <a:pt x="72136" y="885736"/>
                  </a:lnTo>
                  <a:lnTo>
                    <a:pt x="64808" y="885621"/>
                  </a:lnTo>
                  <a:lnTo>
                    <a:pt x="57797" y="883983"/>
                  </a:lnTo>
                  <a:lnTo>
                    <a:pt x="37630" y="847686"/>
                  </a:lnTo>
                  <a:lnTo>
                    <a:pt x="39090" y="837653"/>
                  </a:lnTo>
                  <a:lnTo>
                    <a:pt x="74650" y="465480"/>
                  </a:lnTo>
                  <a:lnTo>
                    <a:pt x="115658" y="406488"/>
                  </a:lnTo>
                  <a:lnTo>
                    <a:pt x="175653" y="368147"/>
                  </a:lnTo>
                  <a:lnTo>
                    <a:pt x="254914" y="343090"/>
                  </a:lnTo>
                  <a:lnTo>
                    <a:pt x="301942" y="339191"/>
                  </a:lnTo>
                  <a:lnTo>
                    <a:pt x="348983" y="343090"/>
                  </a:lnTo>
                  <a:lnTo>
                    <a:pt x="395046" y="354787"/>
                  </a:lnTo>
                  <a:lnTo>
                    <a:pt x="458863" y="385140"/>
                  </a:lnTo>
                  <a:lnTo>
                    <a:pt x="513422" y="430161"/>
                  </a:lnTo>
                  <a:lnTo>
                    <a:pt x="564603" y="838454"/>
                  </a:lnTo>
                  <a:lnTo>
                    <a:pt x="565886" y="847686"/>
                  </a:lnTo>
                  <a:lnTo>
                    <a:pt x="545731" y="884008"/>
                  </a:lnTo>
                  <a:lnTo>
                    <a:pt x="531355" y="885736"/>
                  </a:lnTo>
                  <a:lnTo>
                    <a:pt x="524052" y="887209"/>
                  </a:lnTo>
                  <a:lnTo>
                    <a:pt x="518071" y="891260"/>
                  </a:lnTo>
                  <a:lnTo>
                    <a:pt x="514045" y="897242"/>
                  </a:lnTo>
                  <a:lnTo>
                    <a:pt x="512572" y="904582"/>
                  </a:lnTo>
                  <a:lnTo>
                    <a:pt x="514045" y="911910"/>
                  </a:lnTo>
                  <a:lnTo>
                    <a:pt x="518071" y="917905"/>
                  </a:lnTo>
                  <a:lnTo>
                    <a:pt x="524052" y="921943"/>
                  </a:lnTo>
                  <a:lnTo>
                    <a:pt x="531355" y="923417"/>
                  </a:lnTo>
                  <a:lnTo>
                    <a:pt x="546696" y="922604"/>
                  </a:lnTo>
                  <a:lnTo>
                    <a:pt x="586282" y="901166"/>
                  </a:lnTo>
                  <a:lnTo>
                    <a:pt x="596900" y="882738"/>
                  </a:lnTo>
                  <a:lnTo>
                    <a:pt x="681278" y="1007529"/>
                  </a:lnTo>
                  <a:lnTo>
                    <a:pt x="687108" y="1010615"/>
                  </a:lnTo>
                  <a:lnTo>
                    <a:pt x="804494" y="1010615"/>
                  </a:lnTo>
                  <a:lnTo>
                    <a:pt x="808723" y="1010793"/>
                  </a:lnTo>
                  <a:lnTo>
                    <a:pt x="858037" y="1020521"/>
                  </a:lnTo>
                  <a:lnTo>
                    <a:pt x="909675" y="1050391"/>
                  </a:lnTo>
                  <a:lnTo>
                    <a:pt x="940231" y="1082624"/>
                  </a:lnTo>
                  <a:lnTo>
                    <a:pt x="1010818" y="1252728"/>
                  </a:lnTo>
                  <a:lnTo>
                    <a:pt x="1012990" y="1263738"/>
                  </a:lnTo>
                  <a:lnTo>
                    <a:pt x="1010856" y="1274356"/>
                  </a:lnTo>
                  <a:lnTo>
                    <a:pt x="1004900" y="1283411"/>
                  </a:lnTo>
                  <a:lnTo>
                    <a:pt x="995641" y="1289685"/>
                  </a:lnTo>
                  <a:lnTo>
                    <a:pt x="994943" y="1289964"/>
                  </a:lnTo>
                  <a:lnTo>
                    <a:pt x="988656" y="1293990"/>
                  </a:lnTo>
                  <a:lnTo>
                    <a:pt x="984529" y="1299908"/>
                  </a:lnTo>
                  <a:lnTo>
                    <a:pt x="982916" y="1306957"/>
                  </a:lnTo>
                  <a:lnTo>
                    <a:pt x="984173" y="1314335"/>
                  </a:lnTo>
                  <a:lnTo>
                    <a:pt x="986955" y="1321587"/>
                  </a:lnTo>
                  <a:lnTo>
                    <a:pt x="993927" y="1326388"/>
                  </a:lnTo>
                  <a:lnTo>
                    <a:pt x="1003998" y="1326388"/>
                  </a:lnTo>
                  <a:lnTo>
                    <a:pt x="1006297" y="1325956"/>
                  </a:lnTo>
                  <a:lnTo>
                    <a:pt x="1008456" y="1325130"/>
                  </a:lnTo>
                  <a:lnTo>
                    <a:pt x="1030478" y="1311046"/>
                  </a:lnTo>
                  <a:lnTo>
                    <a:pt x="1044905" y="1290320"/>
                  </a:lnTo>
                  <a:lnTo>
                    <a:pt x="1050531" y="1265669"/>
                  </a:lnTo>
                  <a:close/>
                </a:path>
              </a:pathLst>
            </a:custGeom>
            <a:solidFill>
              <a:srgbClr val="D1660F"/>
            </a:solid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9" name="object 9"/>
          <p:cNvGrpSpPr/>
          <p:nvPr/>
        </p:nvGrpSpPr>
        <p:grpSpPr>
          <a:xfrm>
            <a:off x="9170527" y="2285416"/>
            <a:ext cx="1518493" cy="1062129"/>
            <a:chOff x="7646528" y="1828216"/>
            <a:chExt cx="1200150" cy="963294"/>
          </a:xfrm>
        </p:grpSpPr>
        <p:sp>
          <p:nvSpPr>
            <p:cNvPr id="10" name="object 10"/>
            <p:cNvSpPr/>
            <p:nvPr/>
          </p:nvSpPr>
          <p:spPr>
            <a:xfrm>
              <a:off x="7646517" y="1997824"/>
              <a:ext cx="937260" cy="484505"/>
            </a:xfrm>
            <a:custGeom>
              <a:avLst/>
              <a:gdLst/>
              <a:ahLst/>
              <a:cxnLst/>
              <a:rect l="l" t="t" r="r" b="b"/>
              <a:pathLst>
                <a:path w="937259" h="484505">
                  <a:moveTo>
                    <a:pt x="430606" y="105270"/>
                  </a:moveTo>
                  <a:lnTo>
                    <a:pt x="424294" y="98945"/>
                  </a:lnTo>
                  <a:lnTo>
                    <a:pt x="408736" y="98945"/>
                  </a:lnTo>
                  <a:lnTo>
                    <a:pt x="402424" y="105270"/>
                  </a:lnTo>
                  <a:lnTo>
                    <a:pt x="402424" y="352348"/>
                  </a:lnTo>
                  <a:lnTo>
                    <a:pt x="430606" y="324078"/>
                  </a:lnTo>
                  <a:lnTo>
                    <a:pt x="430606" y="105270"/>
                  </a:lnTo>
                  <a:close/>
                </a:path>
                <a:path w="937259" h="484505">
                  <a:moveTo>
                    <a:pt x="543344" y="105270"/>
                  </a:moveTo>
                  <a:lnTo>
                    <a:pt x="537032" y="98945"/>
                  </a:lnTo>
                  <a:lnTo>
                    <a:pt x="521474" y="98945"/>
                  </a:lnTo>
                  <a:lnTo>
                    <a:pt x="515162" y="105270"/>
                  </a:lnTo>
                  <a:lnTo>
                    <a:pt x="515162" y="349923"/>
                  </a:lnTo>
                  <a:lnTo>
                    <a:pt x="543344" y="378180"/>
                  </a:lnTo>
                  <a:lnTo>
                    <a:pt x="543344" y="105270"/>
                  </a:lnTo>
                  <a:close/>
                </a:path>
                <a:path w="937259" h="484505">
                  <a:moveTo>
                    <a:pt x="736092" y="105270"/>
                  </a:moveTo>
                  <a:lnTo>
                    <a:pt x="729780" y="98945"/>
                  </a:lnTo>
                  <a:lnTo>
                    <a:pt x="714222" y="98945"/>
                  </a:lnTo>
                  <a:lnTo>
                    <a:pt x="707910" y="105270"/>
                  </a:lnTo>
                  <a:lnTo>
                    <a:pt x="707910" y="484098"/>
                  </a:lnTo>
                  <a:lnTo>
                    <a:pt x="736092" y="455841"/>
                  </a:lnTo>
                  <a:lnTo>
                    <a:pt x="736092" y="105270"/>
                  </a:lnTo>
                  <a:close/>
                </a:path>
                <a:path w="937259" h="484505">
                  <a:moveTo>
                    <a:pt x="792429" y="310946"/>
                  </a:moveTo>
                  <a:lnTo>
                    <a:pt x="764247" y="310946"/>
                  </a:lnTo>
                  <a:lnTo>
                    <a:pt x="764247" y="427596"/>
                  </a:lnTo>
                  <a:lnTo>
                    <a:pt x="792429" y="399338"/>
                  </a:lnTo>
                  <a:lnTo>
                    <a:pt x="792429" y="310946"/>
                  </a:lnTo>
                  <a:close/>
                </a:path>
                <a:path w="937259" h="484505">
                  <a:moveTo>
                    <a:pt x="848829" y="105270"/>
                  </a:moveTo>
                  <a:lnTo>
                    <a:pt x="842518" y="98933"/>
                  </a:lnTo>
                  <a:lnTo>
                    <a:pt x="826960" y="98933"/>
                  </a:lnTo>
                  <a:lnTo>
                    <a:pt x="820635" y="105270"/>
                  </a:lnTo>
                  <a:lnTo>
                    <a:pt x="820635" y="371043"/>
                  </a:lnTo>
                  <a:lnTo>
                    <a:pt x="848829" y="342773"/>
                  </a:lnTo>
                  <a:lnTo>
                    <a:pt x="848829" y="105270"/>
                  </a:lnTo>
                  <a:close/>
                </a:path>
                <a:path w="937259" h="484505">
                  <a:moveTo>
                    <a:pt x="936853" y="254419"/>
                  </a:moveTo>
                  <a:lnTo>
                    <a:pt x="905141" y="59131"/>
                  </a:lnTo>
                  <a:lnTo>
                    <a:pt x="876617" y="26987"/>
                  </a:lnTo>
                  <a:lnTo>
                    <a:pt x="830465" y="7099"/>
                  </a:lnTo>
                  <a:lnTo>
                    <a:pt x="791781" y="584"/>
                  </a:lnTo>
                  <a:lnTo>
                    <a:pt x="778687" y="0"/>
                  </a:lnTo>
                  <a:lnTo>
                    <a:pt x="765873" y="533"/>
                  </a:lnTo>
                  <a:lnTo>
                    <a:pt x="728052" y="7213"/>
                  </a:lnTo>
                  <a:lnTo>
                    <a:pt x="682053" y="27076"/>
                  </a:lnTo>
                  <a:lnTo>
                    <a:pt x="653415" y="60020"/>
                  </a:lnTo>
                  <a:lnTo>
                    <a:pt x="624509" y="214045"/>
                  </a:lnTo>
                  <a:lnTo>
                    <a:pt x="599668" y="59182"/>
                  </a:lnTo>
                  <a:lnTo>
                    <a:pt x="571131" y="27038"/>
                  </a:lnTo>
                  <a:lnTo>
                    <a:pt x="524979" y="7162"/>
                  </a:lnTo>
                  <a:lnTo>
                    <a:pt x="486308" y="596"/>
                  </a:lnTo>
                  <a:lnTo>
                    <a:pt x="473214" y="0"/>
                  </a:lnTo>
                  <a:lnTo>
                    <a:pt x="460400" y="533"/>
                  </a:lnTo>
                  <a:lnTo>
                    <a:pt x="422592" y="7213"/>
                  </a:lnTo>
                  <a:lnTo>
                    <a:pt x="376631" y="27076"/>
                  </a:lnTo>
                  <a:lnTo>
                    <a:pt x="347992" y="60020"/>
                  </a:lnTo>
                  <a:lnTo>
                    <a:pt x="317995" y="220040"/>
                  </a:lnTo>
                  <a:lnTo>
                    <a:pt x="317804" y="220040"/>
                  </a:lnTo>
                  <a:lnTo>
                    <a:pt x="287629" y="59207"/>
                  </a:lnTo>
                  <a:lnTo>
                    <a:pt x="259143" y="27076"/>
                  </a:lnTo>
                  <a:lnTo>
                    <a:pt x="213207" y="7239"/>
                  </a:lnTo>
                  <a:lnTo>
                    <a:pt x="175323" y="533"/>
                  </a:lnTo>
                  <a:lnTo>
                    <a:pt x="162483" y="0"/>
                  </a:lnTo>
                  <a:lnTo>
                    <a:pt x="149339" y="596"/>
                  </a:lnTo>
                  <a:lnTo>
                    <a:pt x="110515" y="7213"/>
                  </a:lnTo>
                  <a:lnTo>
                    <a:pt x="65049" y="26758"/>
                  </a:lnTo>
                  <a:lnTo>
                    <a:pt x="35826" y="60172"/>
                  </a:lnTo>
                  <a:lnTo>
                    <a:pt x="266" y="262559"/>
                  </a:lnTo>
                  <a:lnTo>
                    <a:pt x="0" y="277952"/>
                  </a:lnTo>
                  <a:lnTo>
                    <a:pt x="4394" y="292341"/>
                  </a:lnTo>
                  <a:lnTo>
                    <a:pt x="12941" y="304711"/>
                  </a:lnTo>
                  <a:lnTo>
                    <a:pt x="25171" y="314032"/>
                  </a:lnTo>
                  <a:lnTo>
                    <a:pt x="32118" y="317538"/>
                  </a:lnTo>
                  <a:lnTo>
                    <a:pt x="40601" y="314731"/>
                  </a:lnTo>
                  <a:lnTo>
                    <a:pt x="47561" y="300812"/>
                  </a:lnTo>
                  <a:lnTo>
                    <a:pt x="44818" y="292379"/>
                  </a:lnTo>
                  <a:lnTo>
                    <a:pt x="37934" y="288836"/>
                  </a:lnTo>
                  <a:lnTo>
                    <a:pt x="30454" y="284492"/>
                  </a:lnTo>
                  <a:lnTo>
                    <a:pt x="63398" y="66040"/>
                  </a:lnTo>
                  <a:lnTo>
                    <a:pt x="104254" y="38912"/>
                  </a:lnTo>
                  <a:lnTo>
                    <a:pt x="151142" y="28816"/>
                  </a:lnTo>
                  <a:lnTo>
                    <a:pt x="162509" y="28270"/>
                  </a:lnTo>
                  <a:lnTo>
                    <a:pt x="173494" y="28740"/>
                  </a:lnTo>
                  <a:lnTo>
                    <a:pt x="219265" y="38862"/>
                  </a:lnTo>
                  <a:lnTo>
                    <a:pt x="258089" y="60642"/>
                  </a:lnTo>
                  <a:lnTo>
                    <a:pt x="305460" y="307111"/>
                  </a:lnTo>
                  <a:lnTo>
                    <a:pt x="312826" y="312140"/>
                  </a:lnTo>
                  <a:lnTo>
                    <a:pt x="326174" y="309613"/>
                  </a:lnTo>
                  <a:lnTo>
                    <a:pt x="330606" y="305142"/>
                  </a:lnTo>
                  <a:lnTo>
                    <a:pt x="375907" y="63309"/>
                  </a:lnTo>
                  <a:lnTo>
                    <a:pt x="377405" y="60845"/>
                  </a:lnTo>
                  <a:lnTo>
                    <a:pt x="416509" y="38836"/>
                  </a:lnTo>
                  <a:lnTo>
                    <a:pt x="462254" y="28740"/>
                  </a:lnTo>
                  <a:lnTo>
                    <a:pt x="473214" y="28270"/>
                  </a:lnTo>
                  <a:lnTo>
                    <a:pt x="484530" y="28803"/>
                  </a:lnTo>
                  <a:lnTo>
                    <a:pt x="531444" y="38925"/>
                  </a:lnTo>
                  <a:lnTo>
                    <a:pt x="568655" y="59448"/>
                  </a:lnTo>
                  <a:lnTo>
                    <a:pt x="610463" y="305828"/>
                  </a:lnTo>
                  <a:lnTo>
                    <a:pt x="616242" y="310857"/>
                  </a:lnTo>
                  <a:lnTo>
                    <a:pt x="629881" y="310870"/>
                  </a:lnTo>
                  <a:lnTo>
                    <a:pt x="635711" y="306095"/>
                  </a:lnTo>
                  <a:lnTo>
                    <a:pt x="637171" y="299427"/>
                  </a:lnTo>
                  <a:lnTo>
                    <a:pt x="681367" y="63309"/>
                  </a:lnTo>
                  <a:lnTo>
                    <a:pt x="682879" y="60833"/>
                  </a:lnTo>
                  <a:lnTo>
                    <a:pt x="721982" y="38836"/>
                  </a:lnTo>
                  <a:lnTo>
                    <a:pt x="767727" y="28740"/>
                  </a:lnTo>
                  <a:lnTo>
                    <a:pt x="778687" y="28270"/>
                  </a:lnTo>
                  <a:lnTo>
                    <a:pt x="789990" y="28803"/>
                  </a:lnTo>
                  <a:lnTo>
                    <a:pt x="836930" y="38925"/>
                  </a:lnTo>
                  <a:lnTo>
                    <a:pt x="874128" y="59448"/>
                  </a:lnTo>
                  <a:lnTo>
                    <a:pt x="912342" y="279107"/>
                  </a:lnTo>
                  <a:lnTo>
                    <a:pt x="936853" y="254419"/>
                  </a:lnTo>
                  <a:close/>
                </a:path>
              </a:pathLst>
            </a:custGeom>
            <a:solidFill>
              <a:srgbClr val="417865"/>
            </a:solid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pic>
          <p:nvPicPr>
            <p:cNvPr id="11" name="object 11"/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8048917" y="1828216"/>
              <a:ext cx="140917" cy="141339"/>
            </a:xfrm>
            <a:prstGeom prst="rect">
              <a:avLst/>
            </a:prstGeom>
          </p:spPr>
        </p:pic>
        <p:pic>
          <p:nvPicPr>
            <p:cNvPr id="12" name="object 12"/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7738897" y="1828216"/>
              <a:ext cx="140917" cy="141339"/>
            </a:xfrm>
            <a:prstGeom prst="rect">
              <a:avLst/>
            </a:prstGeom>
          </p:spPr>
        </p:pic>
        <p:pic>
          <p:nvPicPr>
            <p:cNvPr id="13" name="object 13"/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8354399" y="1828217"/>
              <a:ext cx="140917" cy="141339"/>
            </a:xfrm>
            <a:prstGeom prst="rect">
              <a:avLst/>
            </a:prstGeom>
          </p:spPr>
        </p:pic>
        <p:sp>
          <p:nvSpPr>
            <p:cNvPr id="14" name="object 14"/>
            <p:cNvSpPr/>
            <p:nvPr/>
          </p:nvSpPr>
          <p:spPr>
            <a:xfrm>
              <a:off x="7685176" y="2068499"/>
              <a:ext cx="1161415" cy="722630"/>
            </a:xfrm>
            <a:custGeom>
              <a:avLst/>
              <a:gdLst/>
              <a:ahLst/>
              <a:cxnLst/>
              <a:rect l="l" t="t" r="r" b="b"/>
              <a:pathLst>
                <a:path w="1161415" h="722630">
                  <a:moveTo>
                    <a:pt x="248412" y="339458"/>
                  </a:moveTo>
                  <a:lnTo>
                    <a:pt x="240563" y="311137"/>
                  </a:lnTo>
                  <a:lnTo>
                    <a:pt x="194678" y="145237"/>
                  </a:lnTo>
                  <a:lnTo>
                    <a:pt x="194614" y="34544"/>
                  </a:lnTo>
                  <a:lnTo>
                    <a:pt x="188366" y="28270"/>
                  </a:lnTo>
                  <a:lnTo>
                    <a:pt x="172808" y="28270"/>
                  </a:lnTo>
                  <a:lnTo>
                    <a:pt x="166547" y="34544"/>
                  </a:lnTo>
                  <a:lnTo>
                    <a:pt x="166484" y="147180"/>
                  </a:lnTo>
                  <a:lnTo>
                    <a:pt x="211391" y="311137"/>
                  </a:lnTo>
                  <a:lnTo>
                    <a:pt x="110121" y="311137"/>
                  </a:lnTo>
                  <a:lnTo>
                    <a:pt x="110121" y="339458"/>
                  </a:lnTo>
                  <a:lnTo>
                    <a:pt x="110121" y="523265"/>
                  </a:lnTo>
                  <a:lnTo>
                    <a:pt x="81940" y="523265"/>
                  </a:lnTo>
                  <a:lnTo>
                    <a:pt x="81940" y="339458"/>
                  </a:lnTo>
                  <a:lnTo>
                    <a:pt x="110121" y="339458"/>
                  </a:lnTo>
                  <a:lnTo>
                    <a:pt x="110121" y="311137"/>
                  </a:lnTo>
                  <a:lnTo>
                    <a:pt x="37058" y="311137"/>
                  </a:lnTo>
                  <a:lnTo>
                    <a:pt x="81940" y="149047"/>
                  </a:lnTo>
                  <a:lnTo>
                    <a:pt x="81940" y="34544"/>
                  </a:lnTo>
                  <a:lnTo>
                    <a:pt x="75628" y="28219"/>
                  </a:lnTo>
                  <a:lnTo>
                    <a:pt x="60071" y="28219"/>
                  </a:lnTo>
                  <a:lnTo>
                    <a:pt x="53759" y="34544"/>
                  </a:lnTo>
                  <a:lnTo>
                    <a:pt x="53746" y="145237"/>
                  </a:lnTo>
                  <a:lnTo>
                    <a:pt x="0" y="339458"/>
                  </a:lnTo>
                  <a:lnTo>
                    <a:pt x="53759" y="339458"/>
                  </a:lnTo>
                  <a:lnTo>
                    <a:pt x="53759" y="551535"/>
                  </a:lnTo>
                  <a:lnTo>
                    <a:pt x="94716" y="551535"/>
                  </a:lnTo>
                  <a:lnTo>
                    <a:pt x="122897" y="523265"/>
                  </a:lnTo>
                  <a:lnTo>
                    <a:pt x="138264" y="507847"/>
                  </a:lnTo>
                  <a:lnTo>
                    <a:pt x="138264" y="339458"/>
                  </a:lnTo>
                  <a:lnTo>
                    <a:pt x="166446" y="339458"/>
                  </a:lnTo>
                  <a:lnTo>
                    <a:pt x="166446" y="479539"/>
                  </a:lnTo>
                  <a:lnTo>
                    <a:pt x="194627" y="451269"/>
                  </a:lnTo>
                  <a:lnTo>
                    <a:pt x="194627" y="339458"/>
                  </a:lnTo>
                  <a:lnTo>
                    <a:pt x="248412" y="339458"/>
                  </a:lnTo>
                  <a:close/>
                </a:path>
                <a:path w="1161415" h="722630">
                  <a:moveTo>
                    <a:pt x="1161161" y="0"/>
                  </a:moveTo>
                  <a:lnTo>
                    <a:pt x="963879" y="0"/>
                  </a:lnTo>
                  <a:lnTo>
                    <a:pt x="956094" y="0"/>
                  </a:lnTo>
                  <a:lnTo>
                    <a:pt x="949782" y="6337"/>
                  </a:lnTo>
                  <a:lnTo>
                    <a:pt x="949782" y="21932"/>
                  </a:lnTo>
                  <a:lnTo>
                    <a:pt x="956094" y="28270"/>
                  </a:lnTo>
                  <a:lnTo>
                    <a:pt x="1112888" y="28270"/>
                  </a:lnTo>
                  <a:lnTo>
                    <a:pt x="639762" y="502970"/>
                  </a:lnTo>
                  <a:lnTo>
                    <a:pt x="421335" y="283895"/>
                  </a:lnTo>
                  <a:lnTo>
                    <a:pt x="4165" y="702132"/>
                  </a:lnTo>
                  <a:lnTo>
                    <a:pt x="4013" y="711085"/>
                  </a:lnTo>
                  <a:lnTo>
                    <a:pt x="14820" y="722299"/>
                  </a:lnTo>
                  <a:lnTo>
                    <a:pt x="23736" y="722464"/>
                  </a:lnTo>
                  <a:lnTo>
                    <a:pt x="421335" y="323862"/>
                  </a:lnTo>
                  <a:lnTo>
                    <a:pt x="639762" y="542937"/>
                  </a:lnTo>
                  <a:lnTo>
                    <a:pt x="1132979" y="48590"/>
                  </a:lnTo>
                  <a:lnTo>
                    <a:pt x="1132979" y="205676"/>
                  </a:lnTo>
                  <a:lnTo>
                    <a:pt x="1139291" y="212013"/>
                  </a:lnTo>
                  <a:lnTo>
                    <a:pt x="1154849" y="212013"/>
                  </a:lnTo>
                  <a:lnTo>
                    <a:pt x="1161161" y="205676"/>
                  </a:lnTo>
                  <a:lnTo>
                    <a:pt x="1161161" y="0"/>
                  </a:lnTo>
                  <a:close/>
                </a:path>
              </a:pathLst>
            </a:custGeom>
            <a:solidFill>
              <a:srgbClr val="417865"/>
            </a:solid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19" name="object 8"/>
          <p:cNvSpPr txBox="1">
            <a:spLocks noGrp="1"/>
          </p:cNvSpPr>
          <p:nvPr>
            <p:ph type="ftr" sz="quarter" idx="5"/>
          </p:nvPr>
        </p:nvSpPr>
        <p:spPr>
          <a:xfrm>
            <a:off x="6983260" y="6553958"/>
            <a:ext cx="5008033" cy="104516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 marR="0" lvl="0" indent="0" algn="l" defTabSz="914400" rtl="0" eaLnBrk="1" fontAlgn="auto" latinLnBrk="0" hangingPunct="1">
              <a:lnSpc>
                <a:spcPct val="100000"/>
              </a:lnSpc>
              <a:spcBef>
                <a:spcPts val="9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600" b="1" i="0" u="none" strike="noStrike" kern="1200" cap="none" spc="3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</a:rPr>
              <a:t>J</a:t>
            </a:r>
            <a:r>
              <a:rPr kumimoji="0" sz="600" b="1" i="0" u="none" strike="noStrike" kern="1200" cap="none" spc="-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</a:rPr>
              <a:t> </a:t>
            </a:r>
            <a:r>
              <a:rPr kumimoji="0" sz="600" b="1" i="0" u="none" strike="noStrike" kern="1200" cap="none" spc="3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</a:rPr>
              <a:t>O</a:t>
            </a:r>
            <a:r>
              <a:rPr kumimoji="0" sz="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</a:rPr>
              <a:t> </a:t>
            </a:r>
            <a:r>
              <a:rPr kumimoji="0" sz="600" b="1" i="0" u="none" strike="noStrike" kern="1200" cap="none" spc="3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</a:rPr>
              <a:t>H</a:t>
            </a:r>
            <a:r>
              <a:rPr kumimoji="0" sz="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</a:rPr>
              <a:t> N  </a:t>
            </a:r>
            <a:r>
              <a:rPr kumimoji="0" sz="600" b="1" i="0" u="none" strike="noStrike" kern="1200" cap="none" spc="6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</a:rPr>
              <a:t> </a:t>
            </a:r>
            <a:r>
              <a:rPr kumimoji="0" sz="600" b="1" i="0" u="none" strike="noStrike" kern="1200" cap="none" spc="3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</a:rPr>
              <a:t>W</a:t>
            </a:r>
            <a:r>
              <a:rPr kumimoji="0" sz="600" b="1" i="0" u="none" strike="noStrike" kern="1200" cap="none" spc="-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</a:rPr>
              <a:t> </a:t>
            </a:r>
            <a:r>
              <a:rPr kumimoji="0" sz="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</a:rPr>
              <a:t>.  </a:t>
            </a:r>
            <a:r>
              <a:rPr kumimoji="0" sz="600" b="1" i="0" u="none" strike="noStrike" kern="1200" cap="none" spc="4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</a:rPr>
              <a:t> </a:t>
            </a:r>
            <a:r>
              <a:rPr kumimoji="0" sz="600" b="1" i="0" u="none" strike="noStrike" kern="1200" cap="none" spc="3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</a:rPr>
              <a:t>G</a:t>
            </a:r>
            <a:r>
              <a:rPr kumimoji="0" sz="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</a:rPr>
              <a:t> </a:t>
            </a:r>
            <a:r>
              <a:rPr kumimoji="0" sz="600" b="1" i="0" u="none" strike="noStrike" kern="1200" cap="none" spc="3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</a:rPr>
              <a:t>A</a:t>
            </a:r>
            <a:r>
              <a:rPr kumimoji="0" sz="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</a:rPr>
              <a:t> </a:t>
            </a:r>
            <a:r>
              <a:rPr kumimoji="0" sz="600" b="1" i="0" u="none" strike="noStrike" kern="1200" cap="none" spc="3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</a:rPr>
              <a:t>R</a:t>
            </a:r>
            <a:r>
              <a:rPr kumimoji="0" sz="600" b="1" i="0" u="none" strike="noStrike" kern="1200" cap="none" spc="-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</a:rPr>
              <a:t> </a:t>
            </a:r>
            <a:r>
              <a:rPr kumimoji="0" sz="600" b="1" i="0" u="none" strike="noStrike" kern="1200" cap="none" spc="3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</a:rPr>
              <a:t>D</a:t>
            </a:r>
            <a:r>
              <a:rPr kumimoji="0" sz="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</a:rPr>
              <a:t> </a:t>
            </a:r>
            <a:r>
              <a:rPr kumimoji="0" sz="600" b="1" i="0" u="none" strike="noStrike" kern="1200" cap="none" spc="3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</a:rPr>
              <a:t>N</a:t>
            </a:r>
            <a:r>
              <a:rPr kumimoji="0" sz="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</a:rPr>
              <a:t> </a:t>
            </a:r>
            <a:r>
              <a:rPr kumimoji="0" sz="600" b="1" i="0" u="none" strike="noStrike" kern="1200" cap="none" spc="3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</a:rPr>
              <a:t>E</a:t>
            </a:r>
            <a:r>
              <a:rPr kumimoji="0" sz="600" b="1" i="0" u="none" strike="noStrike" kern="1200" cap="none" spc="-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</a:rPr>
              <a:t> </a:t>
            </a:r>
            <a:r>
              <a:rPr kumimoji="0" sz="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</a:rPr>
              <a:t>R  </a:t>
            </a:r>
            <a:r>
              <a:rPr kumimoji="0" sz="600" b="1" i="0" u="none" strike="noStrike" kern="1200" cap="none" spc="8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</a:rPr>
              <a:t> </a:t>
            </a:r>
            <a:r>
              <a:rPr kumimoji="0" sz="600" b="1" i="0" u="none" strike="noStrike" kern="1200" cap="none" spc="3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</a:rPr>
              <a:t>C</a:t>
            </a:r>
            <a:r>
              <a:rPr kumimoji="0" sz="600" b="1" i="0" u="none" strike="noStrike" kern="1200" cap="none" spc="-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</a:rPr>
              <a:t> </a:t>
            </a:r>
            <a:r>
              <a:rPr kumimoji="0" sz="600" b="1" i="0" u="none" strike="noStrike" kern="1200" cap="none" spc="3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</a:rPr>
              <a:t>E</a:t>
            </a:r>
            <a:r>
              <a:rPr kumimoji="0" sz="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</a:rPr>
              <a:t> </a:t>
            </a:r>
            <a:r>
              <a:rPr kumimoji="0" sz="600" b="1" i="0" u="none" strike="noStrike" kern="1200" cap="none" spc="3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</a:rPr>
              <a:t>N</a:t>
            </a:r>
            <a:r>
              <a:rPr kumimoji="0" sz="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</a:rPr>
              <a:t> </a:t>
            </a:r>
            <a:r>
              <a:rPr kumimoji="0" sz="600" b="1" i="0" u="none" strike="noStrike" kern="1200" cap="none" spc="3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</a:rPr>
              <a:t>T</a:t>
            </a:r>
            <a:r>
              <a:rPr kumimoji="0" sz="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</a:rPr>
              <a:t> </a:t>
            </a:r>
            <a:r>
              <a:rPr kumimoji="0" sz="600" b="1" i="0" u="none" strike="noStrike" kern="1200" cap="none" spc="3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</a:rPr>
              <a:t>E</a:t>
            </a:r>
            <a:r>
              <a:rPr kumimoji="0" sz="600" b="1" i="0" u="none" strike="noStrike" kern="1200" cap="none" spc="-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</a:rPr>
              <a:t> </a:t>
            </a:r>
            <a:r>
              <a:rPr kumimoji="0" sz="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</a:rPr>
              <a:t>R  </a:t>
            </a:r>
            <a:r>
              <a:rPr kumimoji="0" sz="600" b="1" i="0" u="none" strike="noStrike" kern="1200" cap="none" spc="6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</a:rPr>
              <a:t> </a:t>
            </a:r>
            <a:r>
              <a:rPr kumimoji="0" sz="600" b="1" i="0" u="none" strike="noStrike" kern="1200" cap="none" spc="3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</a:rPr>
              <a:t>F</a:t>
            </a:r>
            <a:r>
              <a:rPr kumimoji="0" sz="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</a:rPr>
              <a:t> </a:t>
            </a:r>
            <a:r>
              <a:rPr kumimoji="0" sz="600" b="1" i="0" u="none" strike="noStrike" kern="1200" cap="none" spc="3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</a:rPr>
              <a:t>O</a:t>
            </a:r>
            <a:r>
              <a:rPr kumimoji="0" sz="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</a:rPr>
              <a:t> R  </a:t>
            </a:r>
            <a:r>
              <a:rPr kumimoji="0" sz="600" b="1" i="0" u="none" strike="noStrike" kern="1200" cap="none" spc="5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</a:rPr>
              <a:t> </a:t>
            </a:r>
            <a:r>
              <a:rPr kumimoji="0" sz="600" b="1" i="0" u="none" strike="noStrike" kern="1200" cap="none" spc="3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</a:rPr>
              <a:t>Y</a:t>
            </a:r>
            <a:r>
              <a:rPr kumimoji="0" sz="600" b="1" i="0" u="none" strike="noStrike" kern="1200" cap="none" spc="-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</a:rPr>
              <a:t> </a:t>
            </a:r>
            <a:r>
              <a:rPr kumimoji="0" sz="600" b="1" i="0" u="none" strike="noStrike" kern="1200" cap="none" spc="3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</a:rPr>
              <a:t>O</a:t>
            </a:r>
            <a:r>
              <a:rPr kumimoji="0" sz="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</a:rPr>
              <a:t> </a:t>
            </a:r>
            <a:r>
              <a:rPr kumimoji="0" sz="600" b="1" i="0" u="none" strike="noStrike" kern="1200" cap="none" spc="3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</a:rPr>
              <a:t>U</a:t>
            </a:r>
            <a:r>
              <a:rPr kumimoji="0" sz="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</a:rPr>
              <a:t> </a:t>
            </a:r>
            <a:r>
              <a:rPr kumimoji="0" sz="600" b="1" i="0" u="none" strike="noStrike" kern="1200" cap="none" spc="3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</a:rPr>
              <a:t>T</a:t>
            </a:r>
            <a:r>
              <a:rPr kumimoji="0" sz="600" b="1" i="0" u="none" strike="noStrike" kern="1200" cap="none" spc="-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</a:rPr>
              <a:t> </a:t>
            </a:r>
            <a:r>
              <a:rPr kumimoji="0" sz="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</a:rPr>
              <a:t>H  </a:t>
            </a:r>
            <a:r>
              <a:rPr kumimoji="0" sz="600" b="1" i="0" u="none" strike="noStrike" kern="1200" cap="none" spc="6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</a:rPr>
              <a:t> </a:t>
            </a:r>
            <a:r>
              <a:rPr kumimoji="0" sz="600" b="1" i="0" u="none" strike="noStrike" kern="1200" cap="none" spc="3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</a:rPr>
              <a:t>A</a:t>
            </a:r>
            <a:r>
              <a:rPr kumimoji="0" sz="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</a:rPr>
              <a:t> </a:t>
            </a:r>
            <a:r>
              <a:rPr kumimoji="0" sz="600" b="1" i="0" u="none" strike="noStrike" kern="1200" cap="none" spc="3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</a:rPr>
              <a:t>N</a:t>
            </a:r>
            <a:r>
              <a:rPr kumimoji="0" sz="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</a:rPr>
              <a:t> D  </a:t>
            </a:r>
            <a:r>
              <a:rPr kumimoji="0" sz="600" b="1" i="0" u="none" strike="noStrike" kern="1200" cap="none" spc="7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</a:rPr>
              <a:t> </a:t>
            </a:r>
            <a:r>
              <a:rPr kumimoji="0" sz="600" b="1" i="0" u="none" strike="noStrike" kern="1200" cap="none" spc="3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</a:rPr>
              <a:t>T</a:t>
            </a:r>
            <a:r>
              <a:rPr kumimoji="0" sz="600" b="1" i="0" u="none" strike="noStrike" kern="1200" cap="none" spc="-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</a:rPr>
              <a:t> </a:t>
            </a:r>
            <a:r>
              <a:rPr kumimoji="0" sz="600" b="1" i="0" u="none" strike="noStrike" kern="1200" cap="none" spc="3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</a:rPr>
              <a:t>H</a:t>
            </a:r>
            <a:r>
              <a:rPr kumimoji="0" sz="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</a:rPr>
              <a:t> </a:t>
            </a:r>
            <a:r>
              <a:rPr kumimoji="0" sz="600" b="1" i="0" u="none" strike="noStrike" kern="1200" cap="none" spc="3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</a:rPr>
              <a:t>E</a:t>
            </a:r>
            <a:r>
              <a:rPr kumimoji="0" sz="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</a:rPr>
              <a:t> </a:t>
            </a:r>
            <a:r>
              <a:rPr kumimoji="0" sz="600" b="1" i="0" u="none" strike="noStrike" kern="1200" cap="none" spc="3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</a:rPr>
              <a:t>I</a:t>
            </a:r>
            <a:r>
              <a:rPr kumimoji="0" sz="600" b="1" i="0" u="none" strike="noStrike" kern="1200" cap="none" spc="-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</a:rPr>
              <a:t> </a:t>
            </a:r>
            <a:r>
              <a:rPr kumimoji="0" sz="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</a:rPr>
              <a:t>R  </a:t>
            </a:r>
            <a:r>
              <a:rPr kumimoji="0" sz="600" b="1" i="0" u="none" strike="noStrike" kern="1200" cap="none" spc="6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</a:rPr>
              <a:t> </a:t>
            </a:r>
            <a:r>
              <a:rPr kumimoji="0" sz="600" b="1" i="0" u="none" strike="noStrike" kern="1200" cap="none" spc="3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</a:rPr>
              <a:t>C</a:t>
            </a:r>
            <a:r>
              <a:rPr kumimoji="0" sz="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</a:rPr>
              <a:t> </a:t>
            </a:r>
            <a:r>
              <a:rPr kumimoji="0" sz="600" b="1" i="0" u="none" strike="noStrike" kern="1200" cap="none" spc="3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</a:rPr>
              <a:t>O</a:t>
            </a:r>
            <a:r>
              <a:rPr kumimoji="0" sz="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</a:rPr>
              <a:t> </a:t>
            </a:r>
            <a:r>
              <a:rPr kumimoji="0" sz="600" b="1" i="0" u="none" strike="noStrike" kern="1200" cap="none" spc="3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</a:rPr>
              <a:t>M</a:t>
            </a:r>
            <a:r>
              <a:rPr kumimoji="0" sz="600" b="1" i="0" u="none" strike="noStrike" kern="1200" cap="none" spc="-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</a:rPr>
              <a:t> </a:t>
            </a:r>
            <a:r>
              <a:rPr kumimoji="0" sz="600" b="1" i="0" u="none" strike="noStrike" kern="1200" cap="none" spc="3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</a:rPr>
              <a:t>M</a:t>
            </a:r>
            <a:r>
              <a:rPr kumimoji="0" sz="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</a:rPr>
              <a:t> </a:t>
            </a:r>
            <a:r>
              <a:rPr kumimoji="0" sz="600" b="1" i="0" u="none" strike="noStrike" kern="1200" cap="none" spc="3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</a:rPr>
              <a:t>U</a:t>
            </a:r>
            <a:r>
              <a:rPr kumimoji="0" sz="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</a:rPr>
              <a:t> </a:t>
            </a:r>
            <a:r>
              <a:rPr kumimoji="0" sz="600" b="1" i="0" u="none" strike="noStrike" kern="1200" cap="none" spc="3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</a:rPr>
              <a:t>N</a:t>
            </a:r>
            <a:r>
              <a:rPr kumimoji="0" sz="600" b="1" i="0" u="none" strike="noStrike" kern="1200" cap="none" spc="-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</a:rPr>
              <a:t> </a:t>
            </a:r>
            <a:r>
              <a:rPr kumimoji="0" sz="600" b="1" i="0" u="none" strike="noStrike" kern="1200" cap="none" spc="3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</a:rPr>
              <a:t>I</a:t>
            </a:r>
            <a:r>
              <a:rPr kumimoji="0" sz="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</a:rPr>
              <a:t> </a:t>
            </a:r>
            <a:r>
              <a:rPr kumimoji="0" sz="600" b="1" i="0" u="none" strike="noStrike" kern="1200" cap="none" spc="3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</a:rPr>
              <a:t>T</a:t>
            </a:r>
            <a:r>
              <a:rPr kumimoji="0" sz="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</a:rPr>
              <a:t> </a:t>
            </a:r>
            <a:r>
              <a:rPr kumimoji="0" sz="600" b="1" i="0" u="none" strike="noStrike" kern="1200" cap="none" spc="3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</a:rPr>
              <a:t>I</a:t>
            </a:r>
            <a:r>
              <a:rPr kumimoji="0" sz="600" b="1" i="0" u="none" strike="noStrike" kern="1200" cap="none" spc="-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</a:rPr>
              <a:t> </a:t>
            </a:r>
            <a:r>
              <a:rPr kumimoji="0" sz="600" b="1" i="0" u="none" strike="noStrike" kern="1200" cap="none" spc="3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</a:rPr>
              <a:t>E</a:t>
            </a:r>
            <a:r>
              <a:rPr kumimoji="0" sz="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</a:rPr>
              <a:t> S</a:t>
            </a:r>
            <a:r>
              <a:rPr kumimoji="0" sz="600" b="1" i="0" u="none" strike="noStrike" kern="1200" cap="none" spc="3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</a:rPr>
              <a:t> 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199696" y="6421550"/>
            <a:ext cx="389478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ource:  </a:t>
            </a:r>
            <a:r>
              <a:rPr kumimoji="0" 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  <a:hlinkClick r:id="rId5"/>
              </a:rPr>
              <a:t>Community Survey conducted spring 2021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BF518A3A-ECE0-42A2-BD7B-43096BD7B6FA}"/>
              </a:ext>
            </a:extLst>
          </p:cNvPr>
          <p:cNvSpPr/>
          <p:nvPr/>
        </p:nvSpPr>
        <p:spPr>
          <a:xfrm>
            <a:off x="366852" y="217727"/>
            <a:ext cx="11458296" cy="1132100"/>
          </a:xfrm>
          <a:prstGeom prst="rect">
            <a:avLst/>
          </a:prstGeom>
          <a:solidFill>
            <a:srgbClr val="006633"/>
          </a:solidFill>
          <a:ln>
            <a:noFill/>
          </a:ln>
          <a:effectLst/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/>
          </a:p>
        </p:txBody>
      </p:sp>
      <p:sp>
        <p:nvSpPr>
          <p:cNvPr id="24" name="Title 1"/>
          <p:cNvSpPr txBox="1">
            <a:spLocks/>
          </p:cNvSpPr>
          <p:nvPr/>
        </p:nvSpPr>
        <p:spPr>
          <a:xfrm>
            <a:off x="733704" y="388337"/>
            <a:ext cx="10515600" cy="961490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0000"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sz="3600" b="1" dirty="0" smtClean="0">
                <a:solidFill>
                  <a:schemeClr val="bg1"/>
                </a:solidFill>
                <a:effectLst>
                  <a:outerShdw blurRad="50800" dist="50800" dir="5400000" algn="ctr" rotWithShape="0">
                    <a:srgbClr val="000000">
                      <a:alpha val="43137"/>
                    </a:srgbClr>
                  </a:outerShdw>
                </a:effectLst>
                <a:latin typeface="Franklin Gothic Book" panose="020B0503020102020204" pitchFamily="34" charset="0"/>
              </a:rPr>
              <a:t>Equity &amp; Antiracism: Guided Pathways</a:t>
            </a:r>
          </a:p>
          <a:p>
            <a:pPr algn="ctr"/>
            <a:r>
              <a:rPr lang="en-US" sz="3600" b="1" dirty="0" smtClean="0">
                <a:solidFill>
                  <a:schemeClr val="bg1"/>
                </a:solidFill>
                <a:effectLst>
                  <a:outerShdw blurRad="50800" dist="50800" dir="5400000" algn="ctr" rotWithShape="0">
                    <a:srgbClr val="000000">
                      <a:alpha val="43137"/>
                    </a:srgbClr>
                  </a:outerShdw>
                </a:effectLst>
                <a:latin typeface="Franklin Gothic Book" panose="020B0503020102020204" pitchFamily="34" charset="0"/>
              </a:rPr>
              <a:t>Creating a sense of belonging and connection</a:t>
            </a:r>
            <a:endParaRPr lang="en-US" sz="3600" b="1" dirty="0">
              <a:solidFill>
                <a:schemeClr val="bg1"/>
              </a:solidFill>
              <a:effectLst>
                <a:outerShdw blurRad="50800" dist="50800" dir="5400000" algn="ctr" rotWithShape="0">
                  <a:srgbClr val="000000">
                    <a:alpha val="43137"/>
                  </a:srgbClr>
                </a:outerShdw>
              </a:effectLst>
              <a:latin typeface="Franklin Gothic Book" panose="020B0503020102020204" pitchFamily="34" charset="0"/>
            </a:endParaRPr>
          </a:p>
        </p:txBody>
      </p:sp>
      <p:sp>
        <p:nvSpPr>
          <p:cNvPr id="25" name="Rectangle 9">
            <a:extLst>
              <a:ext uri="{FF2B5EF4-FFF2-40B4-BE49-F238E27FC236}">
                <a16:creationId xmlns:a16="http://schemas.microsoft.com/office/drawing/2014/main" id="{29C5912D-DD36-465B-BD92-BB0220505875}"/>
              </a:ext>
            </a:extLst>
          </p:cNvPr>
          <p:cNvSpPr/>
          <p:nvPr/>
        </p:nvSpPr>
        <p:spPr>
          <a:xfrm rot="10800000" flipH="1">
            <a:off x="366852" y="217727"/>
            <a:ext cx="1788160" cy="1132099"/>
          </a:xfrm>
          <a:custGeom>
            <a:avLst/>
            <a:gdLst>
              <a:gd name="connsiteX0" fmla="*/ 0 w 1995342"/>
              <a:gd name="connsiteY0" fmla="*/ 0 h 690843"/>
              <a:gd name="connsiteX1" fmla="*/ 1995342 w 1995342"/>
              <a:gd name="connsiteY1" fmla="*/ 0 h 690843"/>
              <a:gd name="connsiteX2" fmla="*/ 1995342 w 1995342"/>
              <a:gd name="connsiteY2" fmla="*/ 690843 h 690843"/>
              <a:gd name="connsiteX3" fmla="*/ 0 w 1995342"/>
              <a:gd name="connsiteY3" fmla="*/ 690843 h 690843"/>
              <a:gd name="connsiteX4" fmla="*/ 0 w 1995342"/>
              <a:gd name="connsiteY4" fmla="*/ 0 h 690843"/>
              <a:gd name="connsiteX0" fmla="*/ 0 w 1995342"/>
              <a:gd name="connsiteY0" fmla="*/ 0 h 690843"/>
              <a:gd name="connsiteX1" fmla="*/ 1375630 w 1995342"/>
              <a:gd name="connsiteY1" fmla="*/ 0 h 690843"/>
              <a:gd name="connsiteX2" fmla="*/ 1995342 w 1995342"/>
              <a:gd name="connsiteY2" fmla="*/ 690843 h 690843"/>
              <a:gd name="connsiteX3" fmla="*/ 0 w 1995342"/>
              <a:gd name="connsiteY3" fmla="*/ 690843 h 690843"/>
              <a:gd name="connsiteX4" fmla="*/ 0 w 1995342"/>
              <a:gd name="connsiteY4" fmla="*/ 0 h 690843"/>
              <a:gd name="connsiteX0" fmla="*/ 0 w 1995342"/>
              <a:gd name="connsiteY0" fmla="*/ 0 h 690843"/>
              <a:gd name="connsiteX1" fmla="*/ 1427711 w 1995342"/>
              <a:gd name="connsiteY1" fmla="*/ 53873 h 690843"/>
              <a:gd name="connsiteX2" fmla="*/ 1995342 w 1995342"/>
              <a:gd name="connsiteY2" fmla="*/ 690843 h 690843"/>
              <a:gd name="connsiteX3" fmla="*/ 0 w 1995342"/>
              <a:gd name="connsiteY3" fmla="*/ 690843 h 690843"/>
              <a:gd name="connsiteX4" fmla="*/ 0 w 1995342"/>
              <a:gd name="connsiteY4" fmla="*/ 0 h 690843"/>
              <a:gd name="connsiteX0" fmla="*/ 26571 w 1995342"/>
              <a:gd name="connsiteY0" fmla="*/ 15898 h 636970"/>
              <a:gd name="connsiteX1" fmla="*/ 1427711 w 1995342"/>
              <a:gd name="connsiteY1" fmla="*/ 0 h 636970"/>
              <a:gd name="connsiteX2" fmla="*/ 1995342 w 1995342"/>
              <a:gd name="connsiteY2" fmla="*/ 636970 h 636970"/>
              <a:gd name="connsiteX3" fmla="*/ 0 w 1995342"/>
              <a:gd name="connsiteY3" fmla="*/ 636970 h 636970"/>
              <a:gd name="connsiteX4" fmla="*/ 26571 w 1995342"/>
              <a:gd name="connsiteY4" fmla="*/ 15898 h 636970"/>
              <a:gd name="connsiteX0" fmla="*/ 0 w 1995342"/>
              <a:gd name="connsiteY0" fmla="*/ 0 h 640502"/>
              <a:gd name="connsiteX1" fmla="*/ 1427711 w 1995342"/>
              <a:gd name="connsiteY1" fmla="*/ 3532 h 640502"/>
              <a:gd name="connsiteX2" fmla="*/ 1995342 w 1995342"/>
              <a:gd name="connsiteY2" fmla="*/ 640502 h 640502"/>
              <a:gd name="connsiteX3" fmla="*/ 0 w 1995342"/>
              <a:gd name="connsiteY3" fmla="*/ 640502 h 640502"/>
              <a:gd name="connsiteX4" fmla="*/ 0 w 1995342"/>
              <a:gd name="connsiteY4" fmla="*/ 0 h 640502"/>
              <a:gd name="connsiteX0" fmla="*/ 0 w 1995342"/>
              <a:gd name="connsiteY0" fmla="*/ 0 h 640502"/>
              <a:gd name="connsiteX1" fmla="*/ 1420271 w 1995342"/>
              <a:gd name="connsiteY1" fmla="*/ 1765 h 640502"/>
              <a:gd name="connsiteX2" fmla="*/ 1995342 w 1995342"/>
              <a:gd name="connsiteY2" fmla="*/ 640502 h 640502"/>
              <a:gd name="connsiteX3" fmla="*/ 0 w 1995342"/>
              <a:gd name="connsiteY3" fmla="*/ 640502 h 640502"/>
              <a:gd name="connsiteX4" fmla="*/ 0 w 1995342"/>
              <a:gd name="connsiteY4" fmla="*/ 0 h 640502"/>
              <a:gd name="connsiteX0" fmla="*/ 0 w 1995342"/>
              <a:gd name="connsiteY0" fmla="*/ 0 h 640502"/>
              <a:gd name="connsiteX1" fmla="*/ 1439402 w 1995342"/>
              <a:gd name="connsiteY1" fmla="*/ 3532 h 640502"/>
              <a:gd name="connsiteX2" fmla="*/ 1995342 w 1995342"/>
              <a:gd name="connsiteY2" fmla="*/ 640502 h 640502"/>
              <a:gd name="connsiteX3" fmla="*/ 0 w 1995342"/>
              <a:gd name="connsiteY3" fmla="*/ 640502 h 640502"/>
              <a:gd name="connsiteX4" fmla="*/ 0 w 1995342"/>
              <a:gd name="connsiteY4" fmla="*/ 0 h 640502"/>
              <a:gd name="connsiteX0" fmla="*/ 0 w 1995342"/>
              <a:gd name="connsiteY0" fmla="*/ 0 h 640502"/>
              <a:gd name="connsiteX1" fmla="*/ 1441528 w 1995342"/>
              <a:gd name="connsiteY1" fmla="*/ 1765 h 640502"/>
              <a:gd name="connsiteX2" fmla="*/ 1995342 w 1995342"/>
              <a:gd name="connsiteY2" fmla="*/ 640502 h 640502"/>
              <a:gd name="connsiteX3" fmla="*/ 0 w 1995342"/>
              <a:gd name="connsiteY3" fmla="*/ 640502 h 640502"/>
              <a:gd name="connsiteX4" fmla="*/ 0 w 1995342"/>
              <a:gd name="connsiteY4" fmla="*/ 0 h 640502"/>
              <a:gd name="connsiteX0" fmla="*/ 0 w 1995342"/>
              <a:gd name="connsiteY0" fmla="*/ 0 h 640502"/>
              <a:gd name="connsiteX1" fmla="*/ 1442591 w 1995342"/>
              <a:gd name="connsiteY1" fmla="*/ 882 h 640502"/>
              <a:gd name="connsiteX2" fmla="*/ 1995342 w 1995342"/>
              <a:gd name="connsiteY2" fmla="*/ 640502 h 640502"/>
              <a:gd name="connsiteX3" fmla="*/ 0 w 1995342"/>
              <a:gd name="connsiteY3" fmla="*/ 640502 h 640502"/>
              <a:gd name="connsiteX4" fmla="*/ 0 w 1995342"/>
              <a:gd name="connsiteY4" fmla="*/ 0 h 6405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95342" h="640502">
                <a:moveTo>
                  <a:pt x="0" y="0"/>
                </a:moveTo>
                <a:lnTo>
                  <a:pt x="1442591" y="882"/>
                </a:lnTo>
                <a:lnTo>
                  <a:pt x="1995342" y="640502"/>
                </a:lnTo>
                <a:lnTo>
                  <a:pt x="0" y="640502"/>
                </a:lnTo>
                <a:lnTo>
                  <a:pt x="0" y="0"/>
                </a:lnTo>
                <a:close/>
              </a:path>
            </a:pathLst>
          </a:custGeom>
          <a:ln>
            <a:noFill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sz="1100" dirty="0"/>
          </a:p>
        </p:txBody>
      </p:sp>
    </p:spTree>
    <p:extLst>
      <p:ext uri="{BB962C8B-B14F-4D97-AF65-F5344CB8AC3E}">
        <p14:creationId xmlns:p14="http://schemas.microsoft.com/office/powerpoint/2010/main" val="31071301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/>
          <p:cNvSpPr txBox="1"/>
          <p:nvPr/>
        </p:nvSpPr>
        <p:spPr>
          <a:xfrm>
            <a:off x="1260932" y="1405024"/>
            <a:ext cx="9641756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sng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f our home campus students</a:t>
            </a:r>
            <a:r>
              <a:rPr kumimoji="0" lang="en-US" sz="2400" b="0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, changes from Fall 2019 to Fall 2021: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11" name="Table 1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1263699"/>
              </p:ext>
            </p:extLst>
          </p:nvPr>
        </p:nvGraphicFramePr>
        <p:xfrm>
          <a:off x="1604309" y="2413072"/>
          <a:ext cx="8029546" cy="365760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2715443">
                  <a:extLst>
                    <a:ext uri="{9D8B030D-6E8A-4147-A177-3AD203B41FA5}">
                      <a16:colId xmlns:a16="http://schemas.microsoft.com/office/drawing/2014/main" val="2029173915"/>
                    </a:ext>
                  </a:extLst>
                </a:gridCol>
                <a:gridCol w="5314103">
                  <a:extLst>
                    <a:ext uri="{9D8B030D-6E8A-4147-A177-3AD203B41FA5}">
                      <a16:colId xmlns:a16="http://schemas.microsoft.com/office/drawing/2014/main" val="3113039981"/>
                    </a:ext>
                  </a:extLst>
                </a:gridCol>
              </a:tblGrid>
              <a:tr h="457200">
                <a:tc>
                  <a:txBody>
                    <a:bodyPr/>
                    <a:lstStyle/>
                    <a:p>
                      <a:r>
                        <a:rPr lang="en-US" dirty="0" smtClean="0"/>
                        <a:t>ESL 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20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3% down from 12% (149 total in Fall 21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84938850"/>
                  </a:ext>
                </a:extLst>
              </a:tr>
              <a:tr h="457200">
                <a:tc>
                  <a:txBody>
                    <a:bodyPr/>
                    <a:lstStyle/>
                    <a:p>
                      <a:r>
                        <a:rPr lang="en-US" dirty="0" smtClean="0"/>
                        <a:t>Low Income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20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36% down from 48%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43192687"/>
                  </a:ext>
                </a:extLst>
              </a:tr>
              <a:tr h="457200">
                <a:tc>
                  <a:txBody>
                    <a:bodyPr/>
                    <a:lstStyle/>
                    <a:p>
                      <a:r>
                        <a:rPr lang="en-US" dirty="0" smtClean="0"/>
                        <a:t>First Time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20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13% down from 16%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91016393"/>
                  </a:ext>
                </a:extLst>
              </a:tr>
              <a:tr h="457200">
                <a:tc>
                  <a:txBody>
                    <a:bodyPr/>
                    <a:lstStyle/>
                    <a:p>
                      <a:r>
                        <a:rPr lang="en-US" dirty="0" smtClean="0"/>
                        <a:t>Continuing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20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66% up from 55%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17588554"/>
                  </a:ext>
                </a:extLst>
              </a:tr>
              <a:tr h="457200">
                <a:tc>
                  <a:txBody>
                    <a:bodyPr/>
                    <a:lstStyle/>
                    <a:p>
                      <a:r>
                        <a:rPr lang="en-US" dirty="0" smtClean="0"/>
                        <a:t>Female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20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66% up from 60%; Male: 30% down from 37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32323945"/>
                  </a:ext>
                </a:extLst>
              </a:tr>
              <a:tr h="457200">
                <a:tc>
                  <a:txBody>
                    <a:bodyPr/>
                    <a:lstStyle/>
                    <a:p>
                      <a:r>
                        <a:rPr lang="en-US" dirty="0" smtClean="0"/>
                        <a:t>Degree/Transfer</a:t>
                      </a:r>
                      <a:r>
                        <a:rPr lang="en-US" baseline="0" dirty="0" smtClean="0"/>
                        <a:t> Seeking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20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66% up from 60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48032636"/>
                  </a:ext>
                </a:extLst>
              </a:tr>
              <a:tr h="457200">
                <a:tc>
                  <a:txBody>
                    <a:bodyPr/>
                    <a:lstStyle/>
                    <a:p>
                      <a:r>
                        <a:rPr lang="en-US" dirty="0" smtClean="0"/>
                        <a:t>Exploratory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20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15% down from 22% </a:t>
                      </a:r>
                      <a:endParaRPr lang="en-US" sz="20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3548725"/>
                  </a:ext>
                </a:extLst>
              </a:tr>
              <a:tr h="457200">
                <a:tc>
                  <a:txBody>
                    <a:bodyPr/>
                    <a:lstStyle/>
                    <a:p>
                      <a:r>
                        <a:rPr lang="en-US" dirty="0" smtClean="0"/>
                        <a:t>K-12 Students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dirty="0" smtClean="0"/>
                        <a:t>6% down from 8%</a:t>
                      </a:r>
                      <a:endParaRPr lang="en-US" sz="20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16571827"/>
                  </a:ext>
                </a:extLst>
              </a:tr>
            </a:tbl>
          </a:graphicData>
        </a:graphic>
      </p:graphicFrame>
      <p:sp>
        <p:nvSpPr>
          <p:cNvPr id="12" name="TextBox 11"/>
          <p:cNvSpPr txBox="1"/>
          <p:nvPr/>
        </p:nvSpPr>
        <p:spPr>
          <a:xfrm>
            <a:off x="9877451" y="2903811"/>
            <a:ext cx="1872345" cy="2554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verall, no significant shifts or disproportionate impact by age or race/ethnicity.  </a:t>
            </a: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owever, our low income students are disproportionately Black and/or Latinx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15" name="Straight Arrow Connector 14"/>
          <p:cNvCxnSpPr/>
          <p:nvPr/>
        </p:nvCxnSpPr>
        <p:spPr>
          <a:xfrm flipV="1">
            <a:off x="1338940" y="3819200"/>
            <a:ext cx="10886" cy="323694"/>
          </a:xfrm>
          <a:prstGeom prst="straightConnector1">
            <a:avLst/>
          </a:prstGeom>
          <a:ln w="762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Arrow Connector 15"/>
          <p:cNvCxnSpPr/>
          <p:nvPr/>
        </p:nvCxnSpPr>
        <p:spPr>
          <a:xfrm>
            <a:off x="1360712" y="2413072"/>
            <a:ext cx="0" cy="319807"/>
          </a:xfrm>
          <a:prstGeom prst="straightConnector1">
            <a:avLst/>
          </a:prstGeom>
          <a:ln w="762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Arrow Connector 20"/>
          <p:cNvCxnSpPr/>
          <p:nvPr/>
        </p:nvCxnSpPr>
        <p:spPr>
          <a:xfrm flipV="1">
            <a:off x="1328057" y="4330826"/>
            <a:ext cx="10886" cy="323694"/>
          </a:xfrm>
          <a:prstGeom prst="straightConnector1">
            <a:avLst/>
          </a:prstGeom>
          <a:ln w="762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Arrow Connector 21"/>
          <p:cNvCxnSpPr/>
          <p:nvPr/>
        </p:nvCxnSpPr>
        <p:spPr>
          <a:xfrm flipV="1">
            <a:off x="1317172" y="4831571"/>
            <a:ext cx="10886" cy="323694"/>
          </a:xfrm>
          <a:prstGeom prst="straightConnector1">
            <a:avLst/>
          </a:prstGeom>
          <a:ln w="762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Arrow Connector 25"/>
          <p:cNvCxnSpPr/>
          <p:nvPr/>
        </p:nvCxnSpPr>
        <p:spPr>
          <a:xfrm>
            <a:off x="1360712" y="2903811"/>
            <a:ext cx="0" cy="319807"/>
          </a:xfrm>
          <a:prstGeom prst="straightConnector1">
            <a:avLst/>
          </a:prstGeom>
          <a:ln w="762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Arrow Connector 26"/>
          <p:cNvCxnSpPr/>
          <p:nvPr/>
        </p:nvCxnSpPr>
        <p:spPr>
          <a:xfrm>
            <a:off x="1360712" y="3394656"/>
            <a:ext cx="0" cy="319807"/>
          </a:xfrm>
          <a:prstGeom prst="straightConnector1">
            <a:avLst/>
          </a:prstGeom>
          <a:ln w="762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/>
          <p:cNvCxnSpPr/>
          <p:nvPr/>
        </p:nvCxnSpPr>
        <p:spPr>
          <a:xfrm>
            <a:off x="1317167" y="5299661"/>
            <a:ext cx="0" cy="319807"/>
          </a:xfrm>
          <a:prstGeom prst="straightConnector1">
            <a:avLst/>
          </a:prstGeom>
          <a:ln w="762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Arrow Connector 13"/>
          <p:cNvCxnSpPr/>
          <p:nvPr/>
        </p:nvCxnSpPr>
        <p:spPr>
          <a:xfrm>
            <a:off x="1317167" y="5712192"/>
            <a:ext cx="0" cy="319807"/>
          </a:xfrm>
          <a:prstGeom prst="straightConnector1">
            <a:avLst/>
          </a:prstGeom>
          <a:ln w="762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Box 16"/>
          <p:cNvSpPr txBox="1"/>
          <p:nvPr/>
        </p:nvSpPr>
        <p:spPr>
          <a:xfrm>
            <a:off x="1604308" y="6156313"/>
            <a:ext cx="6712377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ome campus is defined by the SMCCCD college from which the student is seeking a degree or certificate.  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BF518A3A-ECE0-42A2-BD7B-43096BD7B6FA}"/>
              </a:ext>
            </a:extLst>
          </p:cNvPr>
          <p:cNvSpPr/>
          <p:nvPr/>
        </p:nvSpPr>
        <p:spPr>
          <a:xfrm>
            <a:off x="366852" y="228614"/>
            <a:ext cx="11458296" cy="690843"/>
          </a:xfrm>
          <a:prstGeom prst="rect">
            <a:avLst/>
          </a:prstGeom>
          <a:solidFill>
            <a:srgbClr val="006633"/>
          </a:solidFill>
          <a:ln>
            <a:noFill/>
          </a:ln>
          <a:effectLst/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/>
          </a:p>
        </p:txBody>
      </p:sp>
      <p:sp>
        <p:nvSpPr>
          <p:cNvPr id="20" name="Rectangle 9">
            <a:extLst>
              <a:ext uri="{FF2B5EF4-FFF2-40B4-BE49-F238E27FC236}">
                <a16:creationId xmlns:a16="http://schemas.microsoft.com/office/drawing/2014/main" id="{29C5912D-DD36-465B-BD92-BB0220505875}"/>
              </a:ext>
            </a:extLst>
          </p:cNvPr>
          <p:cNvSpPr/>
          <p:nvPr/>
        </p:nvSpPr>
        <p:spPr>
          <a:xfrm rot="10800000" flipH="1">
            <a:off x="366852" y="228614"/>
            <a:ext cx="1788160" cy="690775"/>
          </a:xfrm>
          <a:custGeom>
            <a:avLst/>
            <a:gdLst>
              <a:gd name="connsiteX0" fmla="*/ 0 w 1995342"/>
              <a:gd name="connsiteY0" fmla="*/ 0 h 690843"/>
              <a:gd name="connsiteX1" fmla="*/ 1995342 w 1995342"/>
              <a:gd name="connsiteY1" fmla="*/ 0 h 690843"/>
              <a:gd name="connsiteX2" fmla="*/ 1995342 w 1995342"/>
              <a:gd name="connsiteY2" fmla="*/ 690843 h 690843"/>
              <a:gd name="connsiteX3" fmla="*/ 0 w 1995342"/>
              <a:gd name="connsiteY3" fmla="*/ 690843 h 690843"/>
              <a:gd name="connsiteX4" fmla="*/ 0 w 1995342"/>
              <a:gd name="connsiteY4" fmla="*/ 0 h 690843"/>
              <a:gd name="connsiteX0" fmla="*/ 0 w 1995342"/>
              <a:gd name="connsiteY0" fmla="*/ 0 h 690843"/>
              <a:gd name="connsiteX1" fmla="*/ 1375630 w 1995342"/>
              <a:gd name="connsiteY1" fmla="*/ 0 h 690843"/>
              <a:gd name="connsiteX2" fmla="*/ 1995342 w 1995342"/>
              <a:gd name="connsiteY2" fmla="*/ 690843 h 690843"/>
              <a:gd name="connsiteX3" fmla="*/ 0 w 1995342"/>
              <a:gd name="connsiteY3" fmla="*/ 690843 h 690843"/>
              <a:gd name="connsiteX4" fmla="*/ 0 w 1995342"/>
              <a:gd name="connsiteY4" fmla="*/ 0 h 690843"/>
              <a:gd name="connsiteX0" fmla="*/ 0 w 1995342"/>
              <a:gd name="connsiteY0" fmla="*/ 0 h 690843"/>
              <a:gd name="connsiteX1" fmla="*/ 1427711 w 1995342"/>
              <a:gd name="connsiteY1" fmla="*/ 53873 h 690843"/>
              <a:gd name="connsiteX2" fmla="*/ 1995342 w 1995342"/>
              <a:gd name="connsiteY2" fmla="*/ 690843 h 690843"/>
              <a:gd name="connsiteX3" fmla="*/ 0 w 1995342"/>
              <a:gd name="connsiteY3" fmla="*/ 690843 h 690843"/>
              <a:gd name="connsiteX4" fmla="*/ 0 w 1995342"/>
              <a:gd name="connsiteY4" fmla="*/ 0 h 690843"/>
              <a:gd name="connsiteX0" fmla="*/ 26571 w 1995342"/>
              <a:gd name="connsiteY0" fmla="*/ 15898 h 636970"/>
              <a:gd name="connsiteX1" fmla="*/ 1427711 w 1995342"/>
              <a:gd name="connsiteY1" fmla="*/ 0 h 636970"/>
              <a:gd name="connsiteX2" fmla="*/ 1995342 w 1995342"/>
              <a:gd name="connsiteY2" fmla="*/ 636970 h 636970"/>
              <a:gd name="connsiteX3" fmla="*/ 0 w 1995342"/>
              <a:gd name="connsiteY3" fmla="*/ 636970 h 636970"/>
              <a:gd name="connsiteX4" fmla="*/ 26571 w 1995342"/>
              <a:gd name="connsiteY4" fmla="*/ 15898 h 636970"/>
              <a:gd name="connsiteX0" fmla="*/ 0 w 1995342"/>
              <a:gd name="connsiteY0" fmla="*/ 0 h 640502"/>
              <a:gd name="connsiteX1" fmla="*/ 1427711 w 1995342"/>
              <a:gd name="connsiteY1" fmla="*/ 3532 h 640502"/>
              <a:gd name="connsiteX2" fmla="*/ 1995342 w 1995342"/>
              <a:gd name="connsiteY2" fmla="*/ 640502 h 640502"/>
              <a:gd name="connsiteX3" fmla="*/ 0 w 1995342"/>
              <a:gd name="connsiteY3" fmla="*/ 640502 h 640502"/>
              <a:gd name="connsiteX4" fmla="*/ 0 w 1995342"/>
              <a:gd name="connsiteY4" fmla="*/ 0 h 640502"/>
              <a:gd name="connsiteX0" fmla="*/ 0 w 1995342"/>
              <a:gd name="connsiteY0" fmla="*/ 0 h 640502"/>
              <a:gd name="connsiteX1" fmla="*/ 1420271 w 1995342"/>
              <a:gd name="connsiteY1" fmla="*/ 1765 h 640502"/>
              <a:gd name="connsiteX2" fmla="*/ 1995342 w 1995342"/>
              <a:gd name="connsiteY2" fmla="*/ 640502 h 640502"/>
              <a:gd name="connsiteX3" fmla="*/ 0 w 1995342"/>
              <a:gd name="connsiteY3" fmla="*/ 640502 h 640502"/>
              <a:gd name="connsiteX4" fmla="*/ 0 w 1995342"/>
              <a:gd name="connsiteY4" fmla="*/ 0 h 640502"/>
              <a:gd name="connsiteX0" fmla="*/ 0 w 1995342"/>
              <a:gd name="connsiteY0" fmla="*/ 0 h 640502"/>
              <a:gd name="connsiteX1" fmla="*/ 1439402 w 1995342"/>
              <a:gd name="connsiteY1" fmla="*/ 3532 h 640502"/>
              <a:gd name="connsiteX2" fmla="*/ 1995342 w 1995342"/>
              <a:gd name="connsiteY2" fmla="*/ 640502 h 640502"/>
              <a:gd name="connsiteX3" fmla="*/ 0 w 1995342"/>
              <a:gd name="connsiteY3" fmla="*/ 640502 h 640502"/>
              <a:gd name="connsiteX4" fmla="*/ 0 w 1995342"/>
              <a:gd name="connsiteY4" fmla="*/ 0 h 640502"/>
              <a:gd name="connsiteX0" fmla="*/ 0 w 1995342"/>
              <a:gd name="connsiteY0" fmla="*/ 0 h 640502"/>
              <a:gd name="connsiteX1" fmla="*/ 1441528 w 1995342"/>
              <a:gd name="connsiteY1" fmla="*/ 1765 h 640502"/>
              <a:gd name="connsiteX2" fmla="*/ 1995342 w 1995342"/>
              <a:gd name="connsiteY2" fmla="*/ 640502 h 640502"/>
              <a:gd name="connsiteX3" fmla="*/ 0 w 1995342"/>
              <a:gd name="connsiteY3" fmla="*/ 640502 h 640502"/>
              <a:gd name="connsiteX4" fmla="*/ 0 w 1995342"/>
              <a:gd name="connsiteY4" fmla="*/ 0 h 640502"/>
              <a:gd name="connsiteX0" fmla="*/ 0 w 1995342"/>
              <a:gd name="connsiteY0" fmla="*/ 0 h 640502"/>
              <a:gd name="connsiteX1" fmla="*/ 1442591 w 1995342"/>
              <a:gd name="connsiteY1" fmla="*/ 882 h 640502"/>
              <a:gd name="connsiteX2" fmla="*/ 1995342 w 1995342"/>
              <a:gd name="connsiteY2" fmla="*/ 640502 h 640502"/>
              <a:gd name="connsiteX3" fmla="*/ 0 w 1995342"/>
              <a:gd name="connsiteY3" fmla="*/ 640502 h 640502"/>
              <a:gd name="connsiteX4" fmla="*/ 0 w 1995342"/>
              <a:gd name="connsiteY4" fmla="*/ 0 h 6405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95342" h="640502">
                <a:moveTo>
                  <a:pt x="0" y="0"/>
                </a:moveTo>
                <a:lnTo>
                  <a:pt x="1442591" y="882"/>
                </a:lnTo>
                <a:lnTo>
                  <a:pt x="1995342" y="640502"/>
                </a:lnTo>
                <a:lnTo>
                  <a:pt x="0" y="640502"/>
                </a:lnTo>
                <a:lnTo>
                  <a:pt x="0" y="0"/>
                </a:lnTo>
                <a:close/>
              </a:path>
            </a:pathLst>
          </a:custGeom>
          <a:ln>
            <a:noFill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sz="1100" dirty="0"/>
          </a:p>
        </p:txBody>
      </p:sp>
      <p:sp>
        <p:nvSpPr>
          <p:cNvPr id="19" name="Title 1"/>
          <p:cNvSpPr txBox="1">
            <a:spLocks/>
          </p:cNvSpPr>
          <p:nvPr/>
        </p:nvSpPr>
        <p:spPr>
          <a:xfrm>
            <a:off x="733704" y="323024"/>
            <a:ext cx="10515600" cy="528108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sz="3200" b="1" dirty="0">
                <a:solidFill>
                  <a:schemeClr val="bg1"/>
                </a:solidFill>
                <a:effectLst>
                  <a:outerShdw blurRad="50800" dist="50800" dir="5400000" algn="ctr" rotWithShape="0">
                    <a:srgbClr val="000000">
                      <a:alpha val="43137"/>
                    </a:srgbClr>
                  </a:outerShdw>
                </a:effectLst>
                <a:latin typeface="Franklin Gothic Book" panose="020B0503020102020204" pitchFamily="34" charset="0"/>
              </a:rPr>
              <a:t>Cañada: changing enrollment patterns during COVID…</a:t>
            </a:r>
          </a:p>
        </p:txBody>
      </p:sp>
    </p:spTree>
    <p:extLst>
      <p:ext uri="{BB962C8B-B14F-4D97-AF65-F5344CB8AC3E}">
        <p14:creationId xmlns:p14="http://schemas.microsoft.com/office/powerpoint/2010/main" val="323301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082449"/>
            <a:ext cx="5157787" cy="823912"/>
          </a:xfrm>
        </p:spPr>
        <p:txBody>
          <a:bodyPr/>
          <a:lstStyle/>
          <a:p>
            <a:r>
              <a:rPr lang="en-US" dirty="0"/>
              <a:t>State &amp; System Guidanc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026105"/>
            <a:ext cx="5157787" cy="3684588"/>
          </a:xfrm>
          <a:ln>
            <a:noFill/>
          </a:ln>
        </p:spPr>
        <p:txBody>
          <a:bodyPr/>
          <a:lstStyle/>
          <a:p>
            <a:r>
              <a:rPr lang="en-US" sz="2000" dirty="0">
                <a:solidFill>
                  <a:schemeClr val="accent3">
                    <a:lumMod val="20000"/>
                    <a:lumOff val="80000"/>
                  </a:schemeClr>
                </a:solidFill>
                <a:effectLst/>
                <a:hlinkClick r:id="rId2"/>
              </a:rPr>
              <a:t>Recovery with Equity</a:t>
            </a:r>
            <a:endParaRPr lang="en-US" sz="2000" dirty="0">
              <a:solidFill>
                <a:schemeClr val="accent3">
                  <a:lumMod val="20000"/>
                  <a:lumOff val="80000"/>
                </a:schemeClr>
              </a:solidFill>
              <a:effectLst/>
            </a:endParaRPr>
          </a:p>
          <a:p>
            <a:r>
              <a:rPr lang="en-US" sz="2000" dirty="0">
                <a:solidFill>
                  <a:schemeClr val="accent3">
                    <a:lumMod val="20000"/>
                    <a:lumOff val="80000"/>
                  </a:schemeClr>
                </a:solidFill>
                <a:effectLst/>
                <a:hlinkClick r:id="rId3"/>
              </a:rPr>
              <a:t>Vision for Success:  Call to Action</a:t>
            </a:r>
            <a:endParaRPr lang="en-US" sz="2000" dirty="0">
              <a:solidFill>
                <a:schemeClr val="accent3">
                  <a:lumMod val="20000"/>
                  <a:lumOff val="80000"/>
                </a:schemeClr>
              </a:solidFill>
              <a:effectLst/>
            </a:endParaRPr>
          </a:p>
          <a:p>
            <a:r>
              <a:rPr lang="en-US" sz="2000" dirty="0">
                <a:solidFill>
                  <a:schemeClr val="accent3">
                    <a:lumMod val="20000"/>
                    <a:lumOff val="80000"/>
                  </a:schemeClr>
                </a:solidFill>
                <a:hlinkClick r:id="rId4"/>
              </a:rPr>
              <a:t>Diversity, Equity &amp; Inclusion Integration Plan</a:t>
            </a:r>
            <a:endParaRPr lang="en-US" sz="2000" dirty="0">
              <a:solidFill>
                <a:schemeClr val="accent3">
                  <a:lumMod val="20000"/>
                  <a:lumOff val="80000"/>
                </a:schemeClr>
              </a:solidFill>
            </a:endParaRPr>
          </a:p>
          <a:p>
            <a:r>
              <a:rPr lang="en-US" sz="2000" dirty="0">
                <a:solidFill>
                  <a:schemeClr val="accent3">
                    <a:lumMod val="20000"/>
                    <a:lumOff val="80000"/>
                  </a:schemeClr>
                </a:solidFill>
                <a:hlinkClick r:id="rId5"/>
              </a:rPr>
              <a:t>Guided Pathways:</a:t>
            </a:r>
            <a:r>
              <a:rPr lang="en-US" sz="2000" dirty="0">
                <a:solidFill>
                  <a:schemeClr val="accent3">
                    <a:lumMod val="20000"/>
                    <a:lumOff val="80000"/>
                  </a:schemeClr>
                </a:solidFill>
              </a:rPr>
              <a:t>  more $$ and time</a:t>
            </a:r>
          </a:p>
          <a:p>
            <a:r>
              <a:rPr lang="en-US" sz="2000" dirty="0">
                <a:solidFill>
                  <a:schemeClr val="accent3">
                    <a:lumMod val="20000"/>
                    <a:lumOff val="80000"/>
                  </a:schemeClr>
                </a:solidFill>
                <a:hlinkClick r:id="rId6"/>
              </a:rPr>
              <a:t>Student Equity &amp; Achievement Program</a:t>
            </a:r>
            <a:r>
              <a:rPr lang="en-US" sz="2000" dirty="0"/>
              <a:t>:  </a:t>
            </a:r>
          </a:p>
          <a:p>
            <a:pPr lvl="1"/>
            <a:r>
              <a:rPr lang="en-US" sz="2000" dirty="0"/>
              <a:t>more $$ </a:t>
            </a:r>
          </a:p>
          <a:p>
            <a:pPr lvl="1"/>
            <a:r>
              <a:rPr lang="en-US" sz="2000" dirty="0">
                <a:hlinkClick r:id="rId7"/>
              </a:rPr>
              <a:t>Center for Urban Education</a:t>
            </a:r>
            <a:r>
              <a:rPr lang="en-US" sz="2000" dirty="0"/>
              <a:t> (CUE) feedback for our 2022-25 SEAP</a:t>
            </a:r>
          </a:p>
          <a:p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082449"/>
            <a:ext cx="5183188" cy="823912"/>
          </a:xfrm>
        </p:spPr>
        <p:txBody>
          <a:bodyPr/>
          <a:lstStyle/>
          <a:p>
            <a:r>
              <a:rPr lang="en-US" dirty="0">
                <a:effectLst/>
              </a:rPr>
              <a:t>Cañada College</a:t>
            </a:r>
            <a:r>
              <a:rPr lang="en-US" dirty="0"/>
              <a:t> Guidance</a:t>
            </a:r>
            <a:endParaRPr lang="en-US" dirty="0">
              <a:effectLst/>
            </a:endParaRP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199" y="2026105"/>
            <a:ext cx="5464629" cy="4233182"/>
          </a:xfrm>
        </p:spPr>
        <p:txBody>
          <a:bodyPr>
            <a:normAutofit fontScale="70000" lnSpcReduction="20000"/>
          </a:bodyPr>
          <a:lstStyle/>
          <a:p>
            <a:pPr>
              <a:lnSpc>
                <a:spcPct val="120000"/>
              </a:lnSpc>
            </a:pPr>
            <a:r>
              <a:rPr lang="en-US" sz="2900" dirty="0">
                <a:hlinkClick r:id="rId8"/>
              </a:rPr>
              <a:t>College Mission, Vision &amp; Values</a:t>
            </a:r>
            <a:endParaRPr lang="en-US" sz="2900" dirty="0"/>
          </a:p>
          <a:p>
            <a:pPr>
              <a:lnSpc>
                <a:spcPct val="120000"/>
              </a:lnSpc>
            </a:pPr>
            <a:r>
              <a:rPr lang="en-US" sz="2900" dirty="0">
                <a:hlinkClick r:id="rId9"/>
              </a:rPr>
              <a:t>Guided Pathways implementation</a:t>
            </a:r>
            <a:endParaRPr lang="en-US" sz="2900" dirty="0"/>
          </a:p>
          <a:p>
            <a:pPr>
              <a:lnSpc>
                <a:spcPct val="120000"/>
              </a:lnSpc>
            </a:pPr>
            <a:r>
              <a:rPr lang="en-US" sz="2900" dirty="0">
                <a:hlinkClick r:id="rId10"/>
              </a:rPr>
              <a:t>Student Equity &amp; Achievement Plan </a:t>
            </a:r>
            <a:endParaRPr lang="en-US" sz="2900" dirty="0"/>
          </a:p>
          <a:p>
            <a:pPr>
              <a:lnSpc>
                <a:spcPct val="120000"/>
              </a:lnSpc>
            </a:pPr>
            <a:r>
              <a:rPr lang="en-US" sz="2900" dirty="0">
                <a:hlinkClick r:id="rId11"/>
              </a:rPr>
              <a:t>College Antiracism Task Force Recommendations</a:t>
            </a:r>
            <a:endParaRPr lang="en-US" sz="2900" dirty="0"/>
          </a:p>
          <a:p>
            <a:pPr>
              <a:lnSpc>
                <a:spcPct val="120000"/>
              </a:lnSpc>
            </a:pPr>
            <a:r>
              <a:rPr lang="en-US" sz="2900" dirty="0">
                <a:hlinkClick r:id="rId12"/>
              </a:rPr>
              <a:t>Cultural Center Focus Group Recommendations</a:t>
            </a:r>
            <a:endParaRPr lang="en-US" sz="2900" dirty="0"/>
          </a:p>
          <a:p>
            <a:pPr>
              <a:lnSpc>
                <a:spcPct val="120000"/>
              </a:lnSpc>
            </a:pPr>
            <a:r>
              <a:rPr lang="en-US" sz="2900" dirty="0">
                <a:hlinkClick r:id="rId13"/>
              </a:rPr>
              <a:t>Faculty, Staff, Student Survey Results</a:t>
            </a:r>
            <a:endParaRPr lang="en-US" sz="2900" dirty="0"/>
          </a:p>
          <a:p>
            <a:pPr>
              <a:lnSpc>
                <a:spcPct val="120000"/>
              </a:lnSpc>
            </a:pPr>
            <a:r>
              <a:rPr lang="en-US" sz="2900" dirty="0">
                <a:hlinkClick r:id="rId14"/>
              </a:rPr>
              <a:t>National Assessment of Collegiate Campus Climates </a:t>
            </a:r>
            <a:r>
              <a:rPr lang="en-US" sz="2900" dirty="0"/>
              <a:t>(NACCC) student survey results (expected September)</a:t>
            </a:r>
          </a:p>
          <a:p>
            <a:endParaRPr lang="en-US" dirty="0"/>
          </a:p>
          <a:p>
            <a:endParaRPr lang="en-US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F518A3A-ECE0-42A2-BD7B-43096BD7B6FA}"/>
              </a:ext>
            </a:extLst>
          </p:cNvPr>
          <p:cNvSpPr/>
          <p:nvPr/>
        </p:nvSpPr>
        <p:spPr>
          <a:xfrm>
            <a:off x="366852" y="228614"/>
            <a:ext cx="11458296" cy="690843"/>
          </a:xfrm>
          <a:prstGeom prst="rect">
            <a:avLst/>
          </a:prstGeom>
          <a:solidFill>
            <a:srgbClr val="006633"/>
          </a:solidFill>
          <a:ln>
            <a:noFill/>
          </a:ln>
          <a:effectLst/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/>
          </a:p>
        </p:txBody>
      </p:sp>
      <p:sp>
        <p:nvSpPr>
          <p:cNvPr id="8" name="Title 1"/>
          <p:cNvSpPr txBox="1">
            <a:spLocks/>
          </p:cNvSpPr>
          <p:nvPr/>
        </p:nvSpPr>
        <p:spPr>
          <a:xfrm>
            <a:off x="733704" y="323024"/>
            <a:ext cx="10515600" cy="528108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0000"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sz="3600" b="1" dirty="0" smtClean="0">
                <a:solidFill>
                  <a:schemeClr val="bg1"/>
                </a:solidFill>
                <a:effectLst>
                  <a:outerShdw blurRad="50800" dist="50800" dir="5400000" algn="ctr" rotWithShape="0">
                    <a:srgbClr val="000000">
                      <a:alpha val="43137"/>
                    </a:srgbClr>
                  </a:outerShdw>
                </a:effectLst>
                <a:latin typeface="Franklin Gothic Book" panose="020B0503020102020204" pitchFamily="34" charset="0"/>
              </a:rPr>
              <a:t>Recovery with Equity: Guidance</a:t>
            </a:r>
            <a:endParaRPr lang="en-US" sz="3600" b="1" dirty="0">
              <a:solidFill>
                <a:schemeClr val="bg1"/>
              </a:solidFill>
              <a:effectLst>
                <a:outerShdw blurRad="50800" dist="50800" dir="5400000" algn="ctr" rotWithShape="0">
                  <a:srgbClr val="000000">
                    <a:alpha val="43137"/>
                  </a:srgbClr>
                </a:outerShdw>
              </a:effectLst>
              <a:latin typeface="Franklin Gothic Book" panose="020B0503020102020204" pitchFamily="34" charset="0"/>
            </a:endParaRPr>
          </a:p>
        </p:txBody>
      </p:sp>
      <p:sp>
        <p:nvSpPr>
          <p:cNvPr id="9" name="Rectangle 9">
            <a:extLst>
              <a:ext uri="{FF2B5EF4-FFF2-40B4-BE49-F238E27FC236}">
                <a16:creationId xmlns:a16="http://schemas.microsoft.com/office/drawing/2014/main" id="{29C5912D-DD36-465B-BD92-BB0220505875}"/>
              </a:ext>
            </a:extLst>
          </p:cNvPr>
          <p:cNvSpPr/>
          <p:nvPr/>
        </p:nvSpPr>
        <p:spPr>
          <a:xfrm rot="10800000" flipH="1">
            <a:off x="366852" y="228614"/>
            <a:ext cx="1788160" cy="690775"/>
          </a:xfrm>
          <a:custGeom>
            <a:avLst/>
            <a:gdLst>
              <a:gd name="connsiteX0" fmla="*/ 0 w 1995342"/>
              <a:gd name="connsiteY0" fmla="*/ 0 h 690843"/>
              <a:gd name="connsiteX1" fmla="*/ 1995342 w 1995342"/>
              <a:gd name="connsiteY1" fmla="*/ 0 h 690843"/>
              <a:gd name="connsiteX2" fmla="*/ 1995342 w 1995342"/>
              <a:gd name="connsiteY2" fmla="*/ 690843 h 690843"/>
              <a:gd name="connsiteX3" fmla="*/ 0 w 1995342"/>
              <a:gd name="connsiteY3" fmla="*/ 690843 h 690843"/>
              <a:gd name="connsiteX4" fmla="*/ 0 w 1995342"/>
              <a:gd name="connsiteY4" fmla="*/ 0 h 690843"/>
              <a:gd name="connsiteX0" fmla="*/ 0 w 1995342"/>
              <a:gd name="connsiteY0" fmla="*/ 0 h 690843"/>
              <a:gd name="connsiteX1" fmla="*/ 1375630 w 1995342"/>
              <a:gd name="connsiteY1" fmla="*/ 0 h 690843"/>
              <a:gd name="connsiteX2" fmla="*/ 1995342 w 1995342"/>
              <a:gd name="connsiteY2" fmla="*/ 690843 h 690843"/>
              <a:gd name="connsiteX3" fmla="*/ 0 w 1995342"/>
              <a:gd name="connsiteY3" fmla="*/ 690843 h 690843"/>
              <a:gd name="connsiteX4" fmla="*/ 0 w 1995342"/>
              <a:gd name="connsiteY4" fmla="*/ 0 h 690843"/>
              <a:gd name="connsiteX0" fmla="*/ 0 w 1995342"/>
              <a:gd name="connsiteY0" fmla="*/ 0 h 690843"/>
              <a:gd name="connsiteX1" fmla="*/ 1427711 w 1995342"/>
              <a:gd name="connsiteY1" fmla="*/ 53873 h 690843"/>
              <a:gd name="connsiteX2" fmla="*/ 1995342 w 1995342"/>
              <a:gd name="connsiteY2" fmla="*/ 690843 h 690843"/>
              <a:gd name="connsiteX3" fmla="*/ 0 w 1995342"/>
              <a:gd name="connsiteY3" fmla="*/ 690843 h 690843"/>
              <a:gd name="connsiteX4" fmla="*/ 0 w 1995342"/>
              <a:gd name="connsiteY4" fmla="*/ 0 h 690843"/>
              <a:gd name="connsiteX0" fmla="*/ 26571 w 1995342"/>
              <a:gd name="connsiteY0" fmla="*/ 15898 h 636970"/>
              <a:gd name="connsiteX1" fmla="*/ 1427711 w 1995342"/>
              <a:gd name="connsiteY1" fmla="*/ 0 h 636970"/>
              <a:gd name="connsiteX2" fmla="*/ 1995342 w 1995342"/>
              <a:gd name="connsiteY2" fmla="*/ 636970 h 636970"/>
              <a:gd name="connsiteX3" fmla="*/ 0 w 1995342"/>
              <a:gd name="connsiteY3" fmla="*/ 636970 h 636970"/>
              <a:gd name="connsiteX4" fmla="*/ 26571 w 1995342"/>
              <a:gd name="connsiteY4" fmla="*/ 15898 h 636970"/>
              <a:gd name="connsiteX0" fmla="*/ 0 w 1995342"/>
              <a:gd name="connsiteY0" fmla="*/ 0 h 640502"/>
              <a:gd name="connsiteX1" fmla="*/ 1427711 w 1995342"/>
              <a:gd name="connsiteY1" fmla="*/ 3532 h 640502"/>
              <a:gd name="connsiteX2" fmla="*/ 1995342 w 1995342"/>
              <a:gd name="connsiteY2" fmla="*/ 640502 h 640502"/>
              <a:gd name="connsiteX3" fmla="*/ 0 w 1995342"/>
              <a:gd name="connsiteY3" fmla="*/ 640502 h 640502"/>
              <a:gd name="connsiteX4" fmla="*/ 0 w 1995342"/>
              <a:gd name="connsiteY4" fmla="*/ 0 h 640502"/>
              <a:gd name="connsiteX0" fmla="*/ 0 w 1995342"/>
              <a:gd name="connsiteY0" fmla="*/ 0 h 640502"/>
              <a:gd name="connsiteX1" fmla="*/ 1420271 w 1995342"/>
              <a:gd name="connsiteY1" fmla="*/ 1765 h 640502"/>
              <a:gd name="connsiteX2" fmla="*/ 1995342 w 1995342"/>
              <a:gd name="connsiteY2" fmla="*/ 640502 h 640502"/>
              <a:gd name="connsiteX3" fmla="*/ 0 w 1995342"/>
              <a:gd name="connsiteY3" fmla="*/ 640502 h 640502"/>
              <a:gd name="connsiteX4" fmla="*/ 0 w 1995342"/>
              <a:gd name="connsiteY4" fmla="*/ 0 h 640502"/>
              <a:gd name="connsiteX0" fmla="*/ 0 w 1995342"/>
              <a:gd name="connsiteY0" fmla="*/ 0 h 640502"/>
              <a:gd name="connsiteX1" fmla="*/ 1439402 w 1995342"/>
              <a:gd name="connsiteY1" fmla="*/ 3532 h 640502"/>
              <a:gd name="connsiteX2" fmla="*/ 1995342 w 1995342"/>
              <a:gd name="connsiteY2" fmla="*/ 640502 h 640502"/>
              <a:gd name="connsiteX3" fmla="*/ 0 w 1995342"/>
              <a:gd name="connsiteY3" fmla="*/ 640502 h 640502"/>
              <a:gd name="connsiteX4" fmla="*/ 0 w 1995342"/>
              <a:gd name="connsiteY4" fmla="*/ 0 h 640502"/>
              <a:gd name="connsiteX0" fmla="*/ 0 w 1995342"/>
              <a:gd name="connsiteY0" fmla="*/ 0 h 640502"/>
              <a:gd name="connsiteX1" fmla="*/ 1441528 w 1995342"/>
              <a:gd name="connsiteY1" fmla="*/ 1765 h 640502"/>
              <a:gd name="connsiteX2" fmla="*/ 1995342 w 1995342"/>
              <a:gd name="connsiteY2" fmla="*/ 640502 h 640502"/>
              <a:gd name="connsiteX3" fmla="*/ 0 w 1995342"/>
              <a:gd name="connsiteY3" fmla="*/ 640502 h 640502"/>
              <a:gd name="connsiteX4" fmla="*/ 0 w 1995342"/>
              <a:gd name="connsiteY4" fmla="*/ 0 h 640502"/>
              <a:gd name="connsiteX0" fmla="*/ 0 w 1995342"/>
              <a:gd name="connsiteY0" fmla="*/ 0 h 640502"/>
              <a:gd name="connsiteX1" fmla="*/ 1442591 w 1995342"/>
              <a:gd name="connsiteY1" fmla="*/ 882 h 640502"/>
              <a:gd name="connsiteX2" fmla="*/ 1995342 w 1995342"/>
              <a:gd name="connsiteY2" fmla="*/ 640502 h 640502"/>
              <a:gd name="connsiteX3" fmla="*/ 0 w 1995342"/>
              <a:gd name="connsiteY3" fmla="*/ 640502 h 640502"/>
              <a:gd name="connsiteX4" fmla="*/ 0 w 1995342"/>
              <a:gd name="connsiteY4" fmla="*/ 0 h 6405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95342" h="640502">
                <a:moveTo>
                  <a:pt x="0" y="0"/>
                </a:moveTo>
                <a:lnTo>
                  <a:pt x="1442591" y="882"/>
                </a:lnTo>
                <a:lnTo>
                  <a:pt x="1995342" y="640502"/>
                </a:lnTo>
                <a:lnTo>
                  <a:pt x="0" y="640502"/>
                </a:lnTo>
                <a:lnTo>
                  <a:pt x="0" y="0"/>
                </a:lnTo>
                <a:close/>
              </a:path>
            </a:pathLst>
          </a:custGeom>
          <a:ln>
            <a:noFill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sz="1100" dirty="0"/>
          </a:p>
        </p:txBody>
      </p:sp>
    </p:spTree>
    <p:extLst>
      <p:ext uri="{BB962C8B-B14F-4D97-AF65-F5344CB8AC3E}">
        <p14:creationId xmlns:p14="http://schemas.microsoft.com/office/powerpoint/2010/main" val="19256196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Content Placeholder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089851484"/>
              </p:ext>
            </p:extLst>
          </p:nvPr>
        </p:nvGraphicFramePr>
        <p:xfrm>
          <a:off x="2" y="2"/>
          <a:ext cx="12191998" cy="6956489"/>
        </p:xfrm>
        <a:graphic>
          <a:graphicData uri="http://schemas.openxmlformats.org/drawingml/2006/table">
            <a:tbl>
              <a:tblPr firstRow="1" bandRow="1">
                <a:tableStyleId>{93296810-A885-4BE3-A3E7-6D5BEEA58F35}</a:tableStyleId>
              </a:tblPr>
              <a:tblGrid>
                <a:gridCol w="2473691">
                  <a:extLst>
                    <a:ext uri="{9D8B030D-6E8A-4147-A177-3AD203B41FA5}">
                      <a16:colId xmlns:a16="http://schemas.microsoft.com/office/drawing/2014/main" val="360353572"/>
                    </a:ext>
                  </a:extLst>
                </a:gridCol>
                <a:gridCol w="1240071">
                  <a:extLst>
                    <a:ext uri="{9D8B030D-6E8A-4147-A177-3AD203B41FA5}">
                      <a16:colId xmlns:a16="http://schemas.microsoft.com/office/drawing/2014/main" val="1059487302"/>
                    </a:ext>
                  </a:extLst>
                </a:gridCol>
                <a:gridCol w="1259054">
                  <a:extLst>
                    <a:ext uri="{9D8B030D-6E8A-4147-A177-3AD203B41FA5}">
                      <a16:colId xmlns:a16="http://schemas.microsoft.com/office/drawing/2014/main" val="3846449828"/>
                    </a:ext>
                  </a:extLst>
                </a:gridCol>
                <a:gridCol w="1340576">
                  <a:extLst>
                    <a:ext uri="{9D8B030D-6E8A-4147-A177-3AD203B41FA5}">
                      <a16:colId xmlns:a16="http://schemas.microsoft.com/office/drawing/2014/main" val="1538576391"/>
                    </a:ext>
                  </a:extLst>
                </a:gridCol>
                <a:gridCol w="1304344">
                  <a:extLst>
                    <a:ext uri="{9D8B030D-6E8A-4147-A177-3AD203B41FA5}">
                      <a16:colId xmlns:a16="http://schemas.microsoft.com/office/drawing/2014/main" val="2097506968"/>
                    </a:ext>
                  </a:extLst>
                </a:gridCol>
                <a:gridCol w="1068838">
                  <a:extLst>
                    <a:ext uri="{9D8B030D-6E8A-4147-A177-3AD203B41FA5}">
                      <a16:colId xmlns:a16="http://schemas.microsoft.com/office/drawing/2014/main" val="4215238395"/>
                    </a:ext>
                  </a:extLst>
                </a:gridCol>
                <a:gridCol w="1195649">
                  <a:extLst>
                    <a:ext uri="{9D8B030D-6E8A-4147-A177-3AD203B41FA5}">
                      <a16:colId xmlns:a16="http://schemas.microsoft.com/office/drawing/2014/main" val="471394366"/>
                    </a:ext>
                  </a:extLst>
                </a:gridCol>
                <a:gridCol w="1204707">
                  <a:extLst>
                    <a:ext uri="{9D8B030D-6E8A-4147-A177-3AD203B41FA5}">
                      <a16:colId xmlns:a16="http://schemas.microsoft.com/office/drawing/2014/main" val="4203598990"/>
                    </a:ext>
                  </a:extLst>
                </a:gridCol>
                <a:gridCol w="1105068">
                  <a:extLst>
                    <a:ext uri="{9D8B030D-6E8A-4147-A177-3AD203B41FA5}">
                      <a16:colId xmlns:a16="http://schemas.microsoft.com/office/drawing/2014/main" val="2192536186"/>
                    </a:ext>
                  </a:extLst>
                </a:gridCol>
              </a:tblGrid>
              <a:tr h="1062896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Equity &amp; Antiracism Area</a:t>
                      </a:r>
                      <a:r>
                        <a:rPr lang="en-US" baseline="0" dirty="0"/>
                        <a:t> of Focus</a:t>
                      </a:r>
                      <a:endParaRPr lang="en-US" dirty="0"/>
                    </a:p>
                  </a:txBody>
                  <a:tcPr anchor="ctr">
                    <a:solidFill>
                      <a:srgbClr val="00663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Recovery with Equity (CA)</a:t>
                      </a:r>
                      <a:endParaRPr lang="en-US" dirty="0"/>
                    </a:p>
                  </a:txBody>
                  <a:tcPr anchor="ctr">
                    <a:solidFill>
                      <a:srgbClr val="00663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Chancellor’s Call to</a:t>
                      </a:r>
                      <a:r>
                        <a:rPr lang="en-US" sz="1600" baseline="0" dirty="0"/>
                        <a:t> Action</a:t>
                      </a:r>
                      <a:endParaRPr lang="en-US" sz="1600" dirty="0"/>
                    </a:p>
                  </a:txBody>
                  <a:tcPr anchor="ctr">
                    <a:solidFill>
                      <a:srgbClr val="00663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College </a:t>
                      </a:r>
                      <a:r>
                        <a:rPr lang="en-US" sz="1600" dirty="0" smtClean="0"/>
                        <a:t>&amp; District Antiracism </a:t>
                      </a:r>
                      <a:r>
                        <a:rPr lang="en-US" sz="1600" dirty="0"/>
                        <a:t>TF Recs</a:t>
                      </a:r>
                    </a:p>
                  </a:txBody>
                  <a:tcPr anchor="ctr">
                    <a:solidFill>
                      <a:srgbClr val="00663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Cultural Center Focus Group</a:t>
                      </a:r>
                      <a:r>
                        <a:rPr lang="en-US" sz="1600" baseline="0" dirty="0"/>
                        <a:t> Recs</a:t>
                      </a:r>
                      <a:endParaRPr lang="en-US" sz="1600" dirty="0"/>
                    </a:p>
                  </a:txBody>
                  <a:tcPr anchor="ctr">
                    <a:solidFill>
                      <a:srgbClr val="00663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Guided Pathways</a:t>
                      </a:r>
                    </a:p>
                  </a:txBody>
                  <a:tcPr anchor="ctr">
                    <a:solidFill>
                      <a:srgbClr val="00663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Student</a:t>
                      </a:r>
                      <a:r>
                        <a:rPr lang="en-US" sz="1600" baseline="0" dirty="0"/>
                        <a:t> Equity &amp; </a:t>
                      </a:r>
                      <a:r>
                        <a:rPr lang="en-US" sz="1600" baseline="0" dirty="0" err="1"/>
                        <a:t>Achvmnt</a:t>
                      </a:r>
                      <a:r>
                        <a:rPr lang="en-US" sz="1600" baseline="0" dirty="0"/>
                        <a:t> Plan</a:t>
                      </a:r>
                      <a:endParaRPr lang="en-US" sz="1600" dirty="0"/>
                    </a:p>
                  </a:txBody>
                  <a:tcPr anchor="ctr">
                    <a:solidFill>
                      <a:srgbClr val="00663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EMP Strategic</a:t>
                      </a:r>
                      <a:r>
                        <a:rPr lang="en-US" sz="1600" baseline="0" dirty="0"/>
                        <a:t> Initiative</a:t>
                      </a:r>
                      <a:endParaRPr lang="en-US" sz="1600" dirty="0"/>
                    </a:p>
                  </a:txBody>
                  <a:tcPr anchor="ctr">
                    <a:solidFill>
                      <a:srgbClr val="00663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Progress</a:t>
                      </a:r>
                      <a:r>
                        <a:rPr lang="en-US" sz="1600" baseline="0" dirty="0"/>
                        <a:t> last year</a:t>
                      </a:r>
                      <a:endParaRPr lang="en-US" sz="1600" dirty="0"/>
                    </a:p>
                  </a:txBody>
                  <a:tcPr anchor="ctr">
                    <a:solidFill>
                      <a:srgbClr val="00663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2016796"/>
                  </a:ext>
                </a:extLst>
              </a:tr>
              <a:tr h="701754">
                <a:tc>
                  <a:txBody>
                    <a:bodyPr/>
                    <a:lstStyle/>
                    <a:p>
                      <a:r>
                        <a:rPr lang="en-US" sz="1400" dirty="0"/>
                        <a:t>Hiring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X</a:t>
                      </a:r>
                    </a:p>
                  </a:txBody>
                  <a:tcPr anchor="ctr"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X</a:t>
                      </a:r>
                      <a:endParaRPr lang="en-US" sz="1400" dirty="0"/>
                    </a:p>
                  </a:txBody>
                  <a:tcPr anchor="ctr"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X</a:t>
                      </a:r>
                    </a:p>
                  </a:txBody>
                  <a:tcPr anchor="ctr"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X</a:t>
                      </a:r>
                    </a:p>
                  </a:txBody>
                  <a:tcPr anchor="ctr"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400" dirty="0"/>
                    </a:p>
                  </a:txBody>
                  <a:tcPr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400" dirty="0"/>
                    </a:p>
                  </a:txBody>
                  <a:tcPr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400" dirty="0"/>
                    </a:p>
                  </a:txBody>
                  <a:tcPr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X</a:t>
                      </a:r>
                    </a:p>
                  </a:txBody>
                  <a:tcPr anchor="ctr"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51344666"/>
                  </a:ext>
                </a:extLst>
              </a:tr>
              <a:tr h="701754">
                <a:tc>
                  <a:txBody>
                    <a:bodyPr/>
                    <a:lstStyle/>
                    <a:p>
                      <a:r>
                        <a:rPr lang="en-US" sz="1400" dirty="0"/>
                        <a:t>Professional Development 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X</a:t>
                      </a:r>
                    </a:p>
                  </a:txBody>
                  <a:tcPr anchor="ctr"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X</a:t>
                      </a:r>
                      <a:endParaRPr lang="en-US" sz="1400" dirty="0"/>
                    </a:p>
                  </a:txBody>
                  <a:tcPr anchor="ctr"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X</a:t>
                      </a:r>
                    </a:p>
                  </a:txBody>
                  <a:tcPr anchor="ctr"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X</a:t>
                      </a:r>
                    </a:p>
                  </a:txBody>
                  <a:tcPr anchor="ctr"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400" dirty="0"/>
                    </a:p>
                  </a:txBody>
                  <a:tcPr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400" dirty="0"/>
                    </a:p>
                  </a:txBody>
                  <a:tcPr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400" dirty="0"/>
                    </a:p>
                  </a:txBody>
                  <a:tcPr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X</a:t>
                      </a:r>
                    </a:p>
                  </a:txBody>
                  <a:tcPr anchor="ctr"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89224892"/>
                  </a:ext>
                </a:extLst>
              </a:tr>
              <a:tr h="701754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/>
                        <a:t>Create a sense of belonging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X</a:t>
                      </a:r>
                    </a:p>
                  </a:txBody>
                  <a:tcPr anchor="ctr"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400" dirty="0"/>
                    </a:p>
                  </a:txBody>
                  <a:tcPr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400" dirty="0"/>
                    </a:p>
                  </a:txBody>
                  <a:tcPr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X</a:t>
                      </a:r>
                    </a:p>
                  </a:txBody>
                  <a:tcPr anchor="ctr"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X</a:t>
                      </a:r>
                    </a:p>
                  </a:txBody>
                  <a:tcPr anchor="ctr"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X</a:t>
                      </a:r>
                    </a:p>
                  </a:txBody>
                  <a:tcPr anchor="ctr"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400" dirty="0"/>
                    </a:p>
                  </a:txBody>
                  <a:tcPr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X</a:t>
                      </a:r>
                    </a:p>
                  </a:txBody>
                  <a:tcPr anchor="ctr"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65763892"/>
                  </a:ext>
                </a:extLst>
              </a:tr>
              <a:tr h="856643">
                <a:tc>
                  <a:txBody>
                    <a:bodyPr/>
                    <a:lstStyle/>
                    <a:p>
                      <a:pPr marL="5715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1200" dirty="0"/>
                        <a:t>Ensure channels for safe reporting and addressing instances of </a:t>
                      </a:r>
                      <a:r>
                        <a:rPr lang="en-US" sz="1400" kern="1200" dirty="0" err="1"/>
                        <a:t>microaggression</a:t>
                      </a:r>
                      <a:r>
                        <a:rPr lang="en-US" sz="1400" kern="1200" dirty="0"/>
                        <a:t>, harassment or discrimination</a:t>
                      </a:r>
                      <a:endParaRPr lang="en-US" sz="14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X</a:t>
                      </a:r>
                    </a:p>
                  </a:txBody>
                  <a:tcPr anchor="ctr"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400" dirty="0"/>
                    </a:p>
                  </a:txBody>
                  <a:tcPr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X</a:t>
                      </a:r>
                      <a:endParaRPr lang="en-US" sz="1400" dirty="0"/>
                    </a:p>
                  </a:txBody>
                  <a:tcPr anchor="ctr"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X</a:t>
                      </a:r>
                    </a:p>
                  </a:txBody>
                  <a:tcPr anchor="ctr"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400" dirty="0"/>
                    </a:p>
                  </a:txBody>
                  <a:tcPr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400" dirty="0"/>
                    </a:p>
                  </a:txBody>
                  <a:tcPr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400" dirty="0"/>
                    </a:p>
                  </a:txBody>
                  <a:tcPr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400" dirty="0"/>
                    </a:p>
                  </a:txBody>
                  <a:tcPr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69652434"/>
                  </a:ext>
                </a:extLst>
              </a:tr>
              <a:tr h="974879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/>
                        <a:t>Re-envision curricula across disciplines to be antiracist and equity-centered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X</a:t>
                      </a:r>
                    </a:p>
                  </a:txBody>
                  <a:tcPr anchor="ctr"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X</a:t>
                      </a:r>
                      <a:endParaRPr lang="en-US" sz="1400" dirty="0"/>
                    </a:p>
                  </a:txBody>
                  <a:tcPr anchor="ctr"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X</a:t>
                      </a:r>
                      <a:endParaRPr lang="en-US" sz="1400" dirty="0"/>
                    </a:p>
                  </a:txBody>
                  <a:tcPr anchor="ctr"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400" dirty="0"/>
                    </a:p>
                  </a:txBody>
                  <a:tcPr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400" dirty="0"/>
                    </a:p>
                  </a:txBody>
                  <a:tcPr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400" dirty="0"/>
                    </a:p>
                  </a:txBody>
                  <a:tcPr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400" dirty="0"/>
                    </a:p>
                  </a:txBody>
                  <a:tcPr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400" dirty="0"/>
                    </a:p>
                  </a:txBody>
                  <a:tcPr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37059364"/>
                  </a:ext>
                </a:extLst>
              </a:tr>
              <a:tr h="974879">
                <a:tc>
                  <a:txBody>
                    <a:bodyPr/>
                    <a:lstStyle/>
                    <a:p>
                      <a:pPr marL="5715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1200" dirty="0"/>
                        <a:t>Integrate work-based learning throughout the disciplines</a:t>
                      </a:r>
                      <a:endParaRPr lang="en-US" sz="14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X</a:t>
                      </a:r>
                    </a:p>
                  </a:txBody>
                  <a:tcPr anchor="ctr"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400" dirty="0"/>
                    </a:p>
                  </a:txBody>
                  <a:tcPr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400" dirty="0"/>
                    </a:p>
                  </a:txBody>
                  <a:tcPr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400" dirty="0"/>
                    </a:p>
                  </a:txBody>
                  <a:tcPr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X</a:t>
                      </a:r>
                    </a:p>
                  </a:txBody>
                  <a:tcPr anchor="ctr"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X</a:t>
                      </a:r>
                      <a:endParaRPr lang="en-US" sz="1400" dirty="0"/>
                    </a:p>
                  </a:txBody>
                  <a:tcPr anchor="ctr"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400" dirty="0"/>
                    </a:p>
                  </a:txBody>
                  <a:tcPr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400" dirty="0"/>
                    </a:p>
                  </a:txBody>
                  <a:tcPr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46896263"/>
                  </a:ext>
                </a:extLst>
              </a:tr>
              <a:tr h="974879">
                <a:tc>
                  <a:txBody>
                    <a:bodyPr/>
                    <a:lstStyle/>
                    <a:p>
                      <a:pPr marL="57150" indent="0" algn="l" fontAlgn="ctr"/>
                      <a:r>
                        <a:rPr lang="en-US" sz="1400" kern="1200" dirty="0"/>
                        <a:t>Work with our K12 partners to identify and dismantle barriers to A-G and early college course completion for all learners</a:t>
                      </a:r>
                      <a:endParaRPr lang="en-US" sz="14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X</a:t>
                      </a:r>
                    </a:p>
                  </a:txBody>
                  <a:tcPr anchor="ctr"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400" dirty="0"/>
                    </a:p>
                  </a:txBody>
                  <a:tcPr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400" dirty="0"/>
                    </a:p>
                  </a:txBody>
                  <a:tcPr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400" dirty="0"/>
                    </a:p>
                  </a:txBody>
                  <a:tcPr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X</a:t>
                      </a:r>
                    </a:p>
                  </a:txBody>
                  <a:tcPr anchor="ctr"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X</a:t>
                      </a:r>
                    </a:p>
                  </a:txBody>
                  <a:tcPr anchor="ctr"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X</a:t>
                      </a:r>
                    </a:p>
                  </a:txBody>
                  <a:tcPr anchor="ctr"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X</a:t>
                      </a:r>
                    </a:p>
                  </a:txBody>
                  <a:tcPr anchor="ctr"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586387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1418235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03090" y="79261"/>
            <a:ext cx="10862441" cy="6778739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 rot="16200000">
            <a:off x="-2673150" y="2865964"/>
            <a:ext cx="6583918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añada </a:t>
            </a:r>
            <a:r>
              <a:rPr kumimoji="0" lang="en-US" sz="2400" b="0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ntiracism Task Force Recommended Actions </a:t>
            </a: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approved by PBC)</a:t>
            </a:r>
            <a:endParaRPr kumimoji="0" lang="en-US" sz="24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608629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10000"/>
          </a:bodyPr>
          <a:lstStyle/>
          <a:p>
            <a:pPr marL="36900" indent="0">
              <a:buNone/>
            </a:pPr>
            <a:r>
              <a:rPr lang="en-US" b="1" dirty="0">
                <a:effectLst/>
              </a:rPr>
              <a:t>The </a:t>
            </a:r>
            <a:r>
              <a:rPr lang="en-US" b="1" dirty="0" smtClean="0">
                <a:effectLst/>
              </a:rPr>
              <a:t>SMCCCD Antiracism </a:t>
            </a:r>
            <a:r>
              <a:rPr lang="en-US" b="1" dirty="0">
                <a:effectLst/>
              </a:rPr>
              <a:t>Council is focusing on </a:t>
            </a:r>
            <a:r>
              <a:rPr lang="en-US" b="1" dirty="0" smtClean="0">
                <a:effectLst/>
              </a:rPr>
              <a:t>three areas:</a:t>
            </a:r>
            <a:endParaRPr lang="en-US" b="1" dirty="0">
              <a:effectLst/>
            </a:endParaRPr>
          </a:p>
          <a:p>
            <a:pPr marL="36900" indent="0">
              <a:buNone/>
            </a:pPr>
            <a:r>
              <a:rPr lang="en-US" dirty="0">
                <a:effectLst/>
              </a:rPr>
              <a:t> </a:t>
            </a:r>
          </a:p>
          <a:p>
            <a:pPr marL="494100" indent="-457200">
              <a:buFont typeface="+mj-lt"/>
              <a:buAutoNum type="arabicParenR"/>
            </a:pPr>
            <a:r>
              <a:rPr lang="en-US" dirty="0" smtClean="0">
                <a:effectLst/>
              </a:rPr>
              <a:t>District </a:t>
            </a:r>
            <a:r>
              <a:rPr lang="en-US" dirty="0">
                <a:effectLst/>
              </a:rPr>
              <a:t>Policies and Procedures like the District’s mission, vision statement and common antiracism glossary.</a:t>
            </a:r>
          </a:p>
          <a:p>
            <a:pPr marL="494100" indent="-457200">
              <a:buFont typeface="+mj-lt"/>
              <a:buAutoNum type="arabicParenR"/>
            </a:pPr>
            <a:r>
              <a:rPr lang="en-US" dirty="0" smtClean="0">
                <a:effectLst/>
              </a:rPr>
              <a:t>Curriculum</a:t>
            </a:r>
            <a:r>
              <a:rPr lang="en-US" dirty="0">
                <a:effectLst/>
              </a:rPr>
              <a:t>, infusing cultural relevant teaching in curriculum, audit of curriculum courses.</a:t>
            </a:r>
          </a:p>
          <a:p>
            <a:pPr marL="494100" indent="-457200">
              <a:buFont typeface="+mj-lt"/>
              <a:buAutoNum type="arabicParenR"/>
            </a:pPr>
            <a:r>
              <a:rPr lang="en-US" dirty="0" smtClean="0">
                <a:effectLst/>
              </a:rPr>
              <a:t>Equal </a:t>
            </a:r>
            <a:r>
              <a:rPr lang="en-US" dirty="0">
                <a:effectLst/>
              </a:rPr>
              <a:t>Employment Opportunity focusing on antiracism professional development courses for employees known as IDEAL – Inclusion, Diversity, Equity, Antiracism Leadership.  Employees will be able to take courses that enrich their understanding of the above areas and how to incorporate them into practice.</a:t>
            </a:r>
          </a:p>
          <a:p>
            <a:endParaRPr lang="en-US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BF518A3A-ECE0-42A2-BD7B-43096BD7B6FA}"/>
              </a:ext>
            </a:extLst>
          </p:cNvPr>
          <p:cNvSpPr/>
          <p:nvPr/>
        </p:nvSpPr>
        <p:spPr>
          <a:xfrm>
            <a:off x="366852" y="228614"/>
            <a:ext cx="11458296" cy="690843"/>
          </a:xfrm>
          <a:prstGeom prst="rect">
            <a:avLst/>
          </a:prstGeom>
          <a:solidFill>
            <a:srgbClr val="006633"/>
          </a:solidFill>
          <a:ln>
            <a:noFill/>
          </a:ln>
          <a:effectLst/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/>
          </a:p>
        </p:txBody>
      </p:sp>
      <p:sp>
        <p:nvSpPr>
          <p:cNvPr id="5" name="Title 1"/>
          <p:cNvSpPr txBox="1">
            <a:spLocks/>
          </p:cNvSpPr>
          <p:nvPr/>
        </p:nvSpPr>
        <p:spPr>
          <a:xfrm>
            <a:off x="733704" y="323024"/>
            <a:ext cx="10515600" cy="528108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0000"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sz="3600" b="1" dirty="0" smtClean="0">
                <a:solidFill>
                  <a:schemeClr val="bg1"/>
                </a:solidFill>
                <a:effectLst>
                  <a:outerShdw blurRad="50800" dist="50800" dir="5400000" algn="ctr" rotWithShape="0">
                    <a:srgbClr val="000000">
                      <a:alpha val="43137"/>
                    </a:srgbClr>
                  </a:outerShdw>
                </a:effectLst>
                <a:latin typeface="Franklin Gothic Book" panose="020B0503020102020204" pitchFamily="34" charset="0"/>
              </a:rPr>
              <a:t>District Antiracism Council</a:t>
            </a:r>
            <a:endParaRPr lang="en-US" sz="3600" b="1" dirty="0">
              <a:solidFill>
                <a:schemeClr val="bg1"/>
              </a:solidFill>
              <a:effectLst>
                <a:outerShdw blurRad="50800" dist="50800" dir="5400000" algn="ctr" rotWithShape="0">
                  <a:srgbClr val="000000">
                    <a:alpha val="43137"/>
                  </a:srgbClr>
                </a:outerShdw>
              </a:effectLst>
              <a:latin typeface="Franklin Gothic Book" panose="020B0503020102020204" pitchFamily="34" charset="0"/>
            </a:endParaRPr>
          </a:p>
        </p:txBody>
      </p:sp>
      <p:sp>
        <p:nvSpPr>
          <p:cNvPr id="6" name="Rectangle 9">
            <a:extLst>
              <a:ext uri="{FF2B5EF4-FFF2-40B4-BE49-F238E27FC236}">
                <a16:creationId xmlns:a16="http://schemas.microsoft.com/office/drawing/2014/main" id="{29C5912D-DD36-465B-BD92-BB0220505875}"/>
              </a:ext>
            </a:extLst>
          </p:cNvPr>
          <p:cNvSpPr/>
          <p:nvPr/>
        </p:nvSpPr>
        <p:spPr>
          <a:xfrm rot="10800000" flipH="1">
            <a:off x="366852" y="228614"/>
            <a:ext cx="1788160" cy="690775"/>
          </a:xfrm>
          <a:custGeom>
            <a:avLst/>
            <a:gdLst>
              <a:gd name="connsiteX0" fmla="*/ 0 w 1995342"/>
              <a:gd name="connsiteY0" fmla="*/ 0 h 690843"/>
              <a:gd name="connsiteX1" fmla="*/ 1995342 w 1995342"/>
              <a:gd name="connsiteY1" fmla="*/ 0 h 690843"/>
              <a:gd name="connsiteX2" fmla="*/ 1995342 w 1995342"/>
              <a:gd name="connsiteY2" fmla="*/ 690843 h 690843"/>
              <a:gd name="connsiteX3" fmla="*/ 0 w 1995342"/>
              <a:gd name="connsiteY3" fmla="*/ 690843 h 690843"/>
              <a:gd name="connsiteX4" fmla="*/ 0 w 1995342"/>
              <a:gd name="connsiteY4" fmla="*/ 0 h 690843"/>
              <a:gd name="connsiteX0" fmla="*/ 0 w 1995342"/>
              <a:gd name="connsiteY0" fmla="*/ 0 h 690843"/>
              <a:gd name="connsiteX1" fmla="*/ 1375630 w 1995342"/>
              <a:gd name="connsiteY1" fmla="*/ 0 h 690843"/>
              <a:gd name="connsiteX2" fmla="*/ 1995342 w 1995342"/>
              <a:gd name="connsiteY2" fmla="*/ 690843 h 690843"/>
              <a:gd name="connsiteX3" fmla="*/ 0 w 1995342"/>
              <a:gd name="connsiteY3" fmla="*/ 690843 h 690843"/>
              <a:gd name="connsiteX4" fmla="*/ 0 w 1995342"/>
              <a:gd name="connsiteY4" fmla="*/ 0 h 690843"/>
              <a:gd name="connsiteX0" fmla="*/ 0 w 1995342"/>
              <a:gd name="connsiteY0" fmla="*/ 0 h 690843"/>
              <a:gd name="connsiteX1" fmla="*/ 1427711 w 1995342"/>
              <a:gd name="connsiteY1" fmla="*/ 53873 h 690843"/>
              <a:gd name="connsiteX2" fmla="*/ 1995342 w 1995342"/>
              <a:gd name="connsiteY2" fmla="*/ 690843 h 690843"/>
              <a:gd name="connsiteX3" fmla="*/ 0 w 1995342"/>
              <a:gd name="connsiteY3" fmla="*/ 690843 h 690843"/>
              <a:gd name="connsiteX4" fmla="*/ 0 w 1995342"/>
              <a:gd name="connsiteY4" fmla="*/ 0 h 690843"/>
              <a:gd name="connsiteX0" fmla="*/ 26571 w 1995342"/>
              <a:gd name="connsiteY0" fmla="*/ 15898 h 636970"/>
              <a:gd name="connsiteX1" fmla="*/ 1427711 w 1995342"/>
              <a:gd name="connsiteY1" fmla="*/ 0 h 636970"/>
              <a:gd name="connsiteX2" fmla="*/ 1995342 w 1995342"/>
              <a:gd name="connsiteY2" fmla="*/ 636970 h 636970"/>
              <a:gd name="connsiteX3" fmla="*/ 0 w 1995342"/>
              <a:gd name="connsiteY3" fmla="*/ 636970 h 636970"/>
              <a:gd name="connsiteX4" fmla="*/ 26571 w 1995342"/>
              <a:gd name="connsiteY4" fmla="*/ 15898 h 636970"/>
              <a:gd name="connsiteX0" fmla="*/ 0 w 1995342"/>
              <a:gd name="connsiteY0" fmla="*/ 0 h 640502"/>
              <a:gd name="connsiteX1" fmla="*/ 1427711 w 1995342"/>
              <a:gd name="connsiteY1" fmla="*/ 3532 h 640502"/>
              <a:gd name="connsiteX2" fmla="*/ 1995342 w 1995342"/>
              <a:gd name="connsiteY2" fmla="*/ 640502 h 640502"/>
              <a:gd name="connsiteX3" fmla="*/ 0 w 1995342"/>
              <a:gd name="connsiteY3" fmla="*/ 640502 h 640502"/>
              <a:gd name="connsiteX4" fmla="*/ 0 w 1995342"/>
              <a:gd name="connsiteY4" fmla="*/ 0 h 640502"/>
              <a:gd name="connsiteX0" fmla="*/ 0 w 1995342"/>
              <a:gd name="connsiteY0" fmla="*/ 0 h 640502"/>
              <a:gd name="connsiteX1" fmla="*/ 1420271 w 1995342"/>
              <a:gd name="connsiteY1" fmla="*/ 1765 h 640502"/>
              <a:gd name="connsiteX2" fmla="*/ 1995342 w 1995342"/>
              <a:gd name="connsiteY2" fmla="*/ 640502 h 640502"/>
              <a:gd name="connsiteX3" fmla="*/ 0 w 1995342"/>
              <a:gd name="connsiteY3" fmla="*/ 640502 h 640502"/>
              <a:gd name="connsiteX4" fmla="*/ 0 w 1995342"/>
              <a:gd name="connsiteY4" fmla="*/ 0 h 640502"/>
              <a:gd name="connsiteX0" fmla="*/ 0 w 1995342"/>
              <a:gd name="connsiteY0" fmla="*/ 0 h 640502"/>
              <a:gd name="connsiteX1" fmla="*/ 1439402 w 1995342"/>
              <a:gd name="connsiteY1" fmla="*/ 3532 h 640502"/>
              <a:gd name="connsiteX2" fmla="*/ 1995342 w 1995342"/>
              <a:gd name="connsiteY2" fmla="*/ 640502 h 640502"/>
              <a:gd name="connsiteX3" fmla="*/ 0 w 1995342"/>
              <a:gd name="connsiteY3" fmla="*/ 640502 h 640502"/>
              <a:gd name="connsiteX4" fmla="*/ 0 w 1995342"/>
              <a:gd name="connsiteY4" fmla="*/ 0 h 640502"/>
              <a:gd name="connsiteX0" fmla="*/ 0 w 1995342"/>
              <a:gd name="connsiteY0" fmla="*/ 0 h 640502"/>
              <a:gd name="connsiteX1" fmla="*/ 1441528 w 1995342"/>
              <a:gd name="connsiteY1" fmla="*/ 1765 h 640502"/>
              <a:gd name="connsiteX2" fmla="*/ 1995342 w 1995342"/>
              <a:gd name="connsiteY2" fmla="*/ 640502 h 640502"/>
              <a:gd name="connsiteX3" fmla="*/ 0 w 1995342"/>
              <a:gd name="connsiteY3" fmla="*/ 640502 h 640502"/>
              <a:gd name="connsiteX4" fmla="*/ 0 w 1995342"/>
              <a:gd name="connsiteY4" fmla="*/ 0 h 640502"/>
              <a:gd name="connsiteX0" fmla="*/ 0 w 1995342"/>
              <a:gd name="connsiteY0" fmla="*/ 0 h 640502"/>
              <a:gd name="connsiteX1" fmla="*/ 1442591 w 1995342"/>
              <a:gd name="connsiteY1" fmla="*/ 882 h 640502"/>
              <a:gd name="connsiteX2" fmla="*/ 1995342 w 1995342"/>
              <a:gd name="connsiteY2" fmla="*/ 640502 h 640502"/>
              <a:gd name="connsiteX3" fmla="*/ 0 w 1995342"/>
              <a:gd name="connsiteY3" fmla="*/ 640502 h 640502"/>
              <a:gd name="connsiteX4" fmla="*/ 0 w 1995342"/>
              <a:gd name="connsiteY4" fmla="*/ 0 h 6405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95342" h="640502">
                <a:moveTo>
                  <a:pt x="0" y="0"/>
                </a:moveTo>
                <a:lnTo>
                  <a:pt x="1442591" y="882"/>
                </a:lnTo>
                <a:lnTo>
                  <a:pt x="1995342" y="640502"/>
                </a:lnTo>
                <a:lnTo>
                  <a:pt x="0" y="640502"/>
                </a:lnTo>
                <a:lnTo>
                  <a:pt x="0" y="0"/>
                </a:lnTo>
                <a:close/>
              </a:path>
            </a:pathLst>
          </a:custGeom>
          <a:ln>
            <a:noFill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sz="1100" dirty="0"/>
          </a:p>
        </p:txBody>
      </p:sp>
    </p:spTree>
    <p:extLst>
      <p:ext uri="{BB962C8B-B14F-4D97-AF65-F5344CB8AC3E}">
        <p14:creationId xmlns:p14="http://schemas.microsoft.com/office/powerpoint/2010/main" val="20954646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919119" y="1362333"/>
            <a:ext cx="10353762" cy="5125551"/>
          </a:xfrm>
        </p:spPr>
        <p:txBody>
          <a:bodyPr>
            <a:normAutofit fontScale="85000" lnSpcReduction="20000"/>
          </a:bodyPr>
          <a:lstStyle/>
          <a:p>
            <a:pPr lvl="0"/>
            <a:r>
              <a:rPr lang="en-US" dirty="0">
                <a:effectLst/>
              </a:rPr>
              <a:t>Antiracism </a:t>
            </a:r>
            <a:r>
              <a:rPr lang="en-US" dirty="0" smtClean="0">
                <a:effectLst/>
              </a:rPr>
              <a:t>Foundational </a:t>
            </a:r>
            <a:r>
              <a:rPr lang="en-US" dirty="0">
                <a:effectLst/>
              </a:rPr>
              <a:t>Workshop for Students (Colts Con 2021)</a:t>
            </a:r>
          </a:p>
          <a:p>
            <a:pPr lvl="0"/>
            <a:r>
              <a:rPr lang="en-US" dirty="0">
                <a:effectLst/>
              </a:rPr>
              <a:t>ACES Professional Development Cohort about “Course Design on Racial Equity” by Center for Organizational Responsibility and Advancement (CORA)</a:t>
            </a:r>
          </a:p>
          <a:p>
            <a:pPr lvl="0"/>
            <a:r>
              <a:rPr lang="en-US" dirty="0" smtClean="0">
                <a:effectLst/>
              </a:rPr>
              <a:t>To build a culture </a:t>
            </a:r>
            <a:r>
              <a:rPr lang="en-US" dirty="0">
                <a:effectLst/>
              </a:rPr>
              <a:t>of inclusion: </a:t>
            </a:r>
          </a:p>
          <a:p>
            <a:pPr lvl="1"/>
            <a:r>
              <a:rPr lang="en-US" dirty="0">
                <a:effectLst/>
              </a:rPr>
              <a:t>Latinx Heritage Month month-long programming (2020 and 2021) </a:t>
            </a:r>
          </a:p>
          <a:p>
            <a:pPr lvl="1"/>
            <a:r>
              <a:rPr lang="en-US" dirty="0">
                <a:effectLst/>
              </a:rPr>
              <a:t>Black Heritage Month programming (Dr. Cornel West)</a:t>
            </a:r>
          </a:p>
          <a:p>
            <a:pPr lvl="1"/>
            <a:r>
              <a:rPr lang="en-US" dirty="0">
                <a:effectLst/>
              </a:rPr>
              <a:t>Personal pronouns updates for rosters and Banner platforms</a:t>
            </a:r>
          </a:p>
          <a:p>
            <a:pPr lvl="1"/>
            <a:r>
              <a:rPr lang="en-US" dirty="0">
                <a:effectLst/>
              </a:rPr>
              <a:t>Antiracism Community Read</a:t>
            </a:r>
          </a:p>
          <a:p>
            <a:pPr lvl="1"/>
            <a:r>
              <a:rPr lang="en-US" dirty="0">
                <a:effectLst/>
              </a:rPr>
              <a:t>Expanded Safe Zone to include student sessions in addition to faculty/staff/managers, and intentional focus on antiracism</a:t>
            </a:r>
          </a:p>
          <a:p>
            <a:pPr lvl="0"/>
            <a:r>
              <a:rPr lang="en-US" dirty="0" smtClean="0">
                <a:effectLst/>
              </a:rPr>
              <a:t>New Ethnic </a:t>
            </a:r>
            <a:r>
              <a:rPr lang="en-US" dirty="0">
                <a:effectLst/>
              </a:rPr>
              <a:t>Studies program and faculty </a:t>
            </a:r>
            <a:r>
              <a:rPr lang="en-US" dirty="0" smtClean="0">
                <a:effectLst/>
              </a:rPr>
              <a:t>hire</a:t>
            </a:r>
          </a:p>
          <a:p>
            <a:pPr lvl="0"/>
            <a:r>
              <a:rPr lang="en-US" dirty="0" smtClean="0">
                <a:effectLst/>
              </a:rPr>
              <a:t>New </a:t>
            </a:r>
            <a:r>
              <a:rPr lang="en-US" dirty="0" err="1" smtClean="0">
                <a:effectLst/>
              </a:rPr>
              <a:t>Umoja</a:t>
            </a:r>
            <a:r>
              <a:rPr lang="en-US" dirty="0" smtClean="0">
                <a:effectLst/>
              </a:rPr>
              <a:t> program</a:t>
            </a:r>
            <a:endParaRPr lang="en-US" dirty="0">
              <a:effectLst/>
            </a:endParaRPr>
          </a:p>
          <a:p>
            <a:pPr lvl="0"/>
            <a:r>
              <a:rPr lang="en-US" dirty="0" smtClean="0">
                <a:effectLst/>
              </a:rPr>
              <a:t>Antiracism Task Force at College; Connection to District Antiracism Council</a:t>
            </a:r>
          </a:p>
          <a:p>
            <a:r>
              <a:rPr lang="en-US" dirty="0" smtClean="0">
                <a:effectLst/>
              </a:rPr>
              <a:t>Year-long participation (2020-21) in </a:t>
            </a:r>
            <a:r>
              <a:rPr lang="en-US" dirty="0">
                <a:effectLst/>
              </a:rPr>
              <a:t>the California Community College Race and Equity Alliance organized by USC Race and Equity </a:t>
            </a:r>
            <a:r>
              <a:rPr lang="en-US" dirty="0" smtClean="0">
                <a:effectLst/>
              </a:rPr>
              <a:t>Center:  </a:t>
            </a:r>
            <a:r>
              <a:rPr lang="en-US" dirty="0" smtClean="0"/>
              <a:t>e-</a:t>
            </a:r>
            <a:r>
              <a:rPr lang="en-US" dirty="0" err="1" smtClean="0"/>
              <a:t>convenings</a:t>
            </a:r>
            <a:r>
              <a:rPr lang="en-US" dirty="0" smtClean="0"/>
              <a:t> in which 35 faculty and staff participated</a:t>
            </a:r>
          </a:p>
          <a:p>
            <a:pPr marL="36900" indent="0">
              <a:buNone/>
            </a:pPr>
            <a:endParaRPr lang="en-US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BF518A3A-ECE0-42A2-BD7B-43096BD7B6FA}"/>
              </a:ext>
            </a:extLst>
          </p:cNvPr>
          <p:cNvSpPr/>
          <p:nvPr/>
        </p:nvSpPr>
        <p:spPr>
          <a:xfrm>
            <a:off x="366852" y="228614"/>
            <a:ext cx="11458296" cy="690843"/>
          </a:xfrm>
          <a:prstGeom prst="rect">
            <a:avLst/>
          </a:prstGeom>
          <a:solidFill>
            <a:srgbClr val="006633"/>
          </a:solidFill>
          <a:ln>
            <a:noFill/>
          </a:ln>
          <a:effectLst/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/>
          </a:p>
        </p:txBody>
      </p:sp>
      <p:sp>
        <p:nvSpPr>
          <p:cNvPr id="5" name="Title 1"/>
          <p:cNvSpPr txBox="1">
            <a:spLocks/>
          </p:cNvSpPr>
          <p:nvPr/>
        </p:nvSpPr>
        <p:spPr>
          <a:xfrm>
            <a:off x="733704" y="323024"/>
            <a:ext cx="10515600" cy="528108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0000"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sz="3600" b="1" dirty="0" smtClean="0">
                <a:solidFill>
                  <a:schemeClr val="bg1"/>
                </a:solidFill>
                <a:effectLst>
                  <a:outerShdw blurRad="50800" dist="50800" dir="5400000" algn="ctr" rotWithShape="0">
                    <a:srgbClr val="000000">
                      <a:alpha val="43137"/>
                    </a:srgbClr>
                  </a:outerShdw>
                </a:effectLst>
                <a:latin typeface="Franklin Gothic Book" panose="020B0503020102020204" pitchFamily="34" charset="0"/>
              </a:rPr>
              <a:t>Other Campus Efforts</a:t>
            </a:r>
            <a:endParaRPr lang="en-US" sz="3600" b="1" dirty="0">
              <a:solidFill>
                <a:schemeClr val="bg1"/>
              </a:solidFill>
              <a:effectLst>
                <a:outerShdw blurRad="50800" dist="50800" dir="5400000" algn="ctr" rotWithShape="0">
                  <a:srgbClr val="000000">
                    <a:alpha val="43137"/>
                  </a:srgbClr>
                </a:outerShdw>
              </a:effectLst>
              <a:latin typeface="Franklin Gothic Book" panose="020B0503020102020204" pitchFamily="34" charset="0"/>
            </a:endParaRPr>
          </a:p>
        </p:txBody>
      </p:sp>
      <p:sp>
        <p:nvSpPr>
          <p:cNvPr id="6" name="Rectangle 9">
            <a:extLst>
              <a:ext uri="{FF2B5EF4-FFF2-40B4-BE49-F238E27FC236}">
                <a16:creationId xmlns:a16="http://schemas.microsoft.com/office/drawing/2014/main" id="{29C5912D-DD36-465B-BD92-BB0220505875}"/>
              </a:ext>
            </a:extLst>
          </p:cNvPr>
          <p:cNvSpPr/>
          <p:nvPr/>
        </p:nvSpPr>
        <p:spPr>
          <a:xfrm rot="10800000" flipH="1">
            <a:off x="366852" y="228614"/>
            <a:ext cx="1788160" cy="690775"/>
          </a:xfrm>
          <a:custGeom>
            <a:avLst/>
            <a:gdLst>
              <a:gd name="connsiteX0" fmla="*/ 0 w 1995342"/>
              <a:gd name="connsiteY0" fmla="*/ 0 h 690843"/>
              <a:gd name="connsiteX1" fmla="*/ 1995342 w 1995342"/>
              <a:gd name="connsiteY1" fmla="*/ 0 h 690843"/>
              <a:gd name="connsiteX2" fmla="*/ 1995342 w 1995342"/>
              <a:gd name="connsiteY2" fmla="*/ 690843 h 690843"/>
              <a:gd name="connsiteX3" fmla="*/ 0 w 1995342"/>
              <a:gd name="connsiteY3" fmla="*/ 690843 h 690843"/>
              <a:gd name="connsiteX4" fmla="*/ 0 w 1995342"/>
              <a:gd name="connsiteY4" fmla="*/ 0 h 690843"/>
              <a:gd name="connsiteX0" fmla="*/ 0 w 1995342"/>
              <a:gd name="connsiteY0" fmla="*/ 0 h 690843"/>
              <a:gd name="connsiteX1" fmla="*/ 1375630 w 1995342"/>
              <a:gd name="connsiteY1" fmla="*/ 0 h 690843"/>
              <a:gd name="connsiteX2" fmla="*/ 1995342 w 1995342"/>
              <a:gd name="connsiteY2" fmla="*/ 690843 h 690843"/>
              <a:gd name="connsiteX3" fmla="*/ 0 w 1995342"/>
              <a:gd name="connsiteY3" fmla="*/ 690843 h 690843"/>
              <a:gd name="connsiteX4" fmla="*/ 0 w 1995342"/>
              <a:gd name="connsiteY4" fmla="*/ 0 h 690843"/>
              <a:gd name="connsiteX0" fmla="*/ 0 w 1995342"/>
              <a:gd name="connsiteY0" fmla="*/ 0 h 690843"/>
              <a:gd name="connsiteX1" fmla="*/ 1427711 w 1995342"/>
              <a:gd name="connsiteY1" fmla="*/ 53873 h 690843"/>
              <a:gd name="connsiteX2" fmla="*/ 1995342 w 1995342"/>
              <a:gd name="connsiteY2" fmla="*/ 690843 h 690843"/>
              <a:gd name="connsiteX3" fmla="*/ 0 w 1995342"/>
              <a:gd name="connsiteY3" fmla="*/ 690843 h 690843"/>
              <a:gd name="connsiteX4" fmla="*/ 0 w 1995342"/>
              <a:gd name="connsiteY4" fmla="*/ 0 h 690843"/>
              <a:gd name="connsiteX0" fmla="*/ 26571 w 1995342"/>
              <a:gd name="connsiteY0" fmla="*/ 15898 h 636970"/>
              <a:gd name="connsiteX1" fmla="*/ 1427711 w 1995342"/>
              <a:gd name="connsiteY1" fmla="*/ 0 h 636970"/>
              <a:gd name="connsiteX2" fmla="*/ 1995342 w 1995342"/>
              <a:gd name="connsiteY2" fmla="*/ 636970 h 636970"/>
              <a:gd name="connsiteX3" fmla="*/ 0 w 1995342"/>
              <a:gd name="connsiteY3" fmla="*/ 636970 h 636970"/>
              <a:gd name="connsiteX4" fmla="*/ 26571 w 1995342"/>
              <a:gd name="connsiteY4" fmla="*/ 15898 h 636970"/>
              <a:gd name="connsiteX0" fmla="*/ 0 w 1995342"/>
              <a:gd name="connsiteY0" fmla="*/ 0 h 640502"/>
              <a:gd name="connsiteX1" fmla="*/ 1427711 w 1995342"/>
              <a:gd name="connsiteY1" fmla="*/ 3532 h 640502"/>
              <a:gd name="connsiteX2" fmla="*/ 1995342 w 1995342"/>
              <a:gd name="connsiteY2" fmla="*/ 640502 h 640502"/>
              <a:gd name="connsiteX3" fmla="*/ 0 w 1995342"/>
              <a:gd name="connsiteY3" fmla="*/ 640502 h 640502"/>
              <a:gd name="connsiteX4" fmla="*/ 0 w 1995342"/>
              <a:gd name="connsiteY4" fmla="*/ 0 h 640502"/>
              <a:gd name="connsiteX0" fmla="*/ 0 w 1995342"/>
              <a:gd name="connsiteY0" fmla="*/ 0 h 640502"/>
              <a:gd name="connsiteX1" fmla="*/ 1420271 w 1995342"/>
              <a:gd name="connsiteY1" fmla="*/ 1765 h 640502"/>
              <a:gd name="connsiteX2" fmla="*/ 1995342 w 1995342"/>
              <a:gd name="connsiteY2" fmla="*/ 640502 h 640502"/>
              <a:gd name="connsiteX3" fmla="*/ 0 w 1995342"/>
              <a:gd name="connsiteY3" fmla="*/ 640502 h 640502"/>
              <a:gd name="connsiteX4" fmla="*/ 0 w 1995342"/>
              <a:gd name="connsiteY4" fmla="*/ 0 h 640502"/>
              <a:gd name="connsiteX0" fmla="*/ 0 w 1995342"/>
              <a:gd name="connsiteY0" fmla="*/ 0 h 640502"/>
              <a:gd name="connsiteX1" fmla="*/ 1439402 w 1995342"/>
              <a:gd name="connsiteY1" fmla="*/ 3532 h 640502"/>
              <a:gd name="connsiteX2" fmla="*/ 1995342 w 1995342"/>
              <a:gd name="connsiteY2" fmla="*/ 640502 h 640502"/>
              <a:gd name="connsiteX3" fmla="*/ 0 w 1995342"/>
              <a:gd name="connsiteY3" fmla="*/ 640502 h 640502"/>
              <a:gd name="connsiteX4" fmla="*/ 0 w 1995342"/>
              <a:gd name="connsiteY4" fmla="*/ 0 h 640502"/>
              <a:gd name="connsiteX0" fmla="*/ 0 w 1995342"/>
              <a:gd name="connsiteY0" fmla="*/ 0 h 640502"/>
              <a:gd name="connsiteX1" fmla="*/ 1441528 w 1995342"/>
              <a:gd name="connsiteY1" fmla="*/ 1765 h 640502"/>
              <a:gd name="connsiteX2" fmla="*/ 1995342 w 1995342"/>
              <a:gd name="connsiteY2" fmla="*/ 640502 h 640502"/>
              <a:gd name="connsiteX3" fmla="*/ 0 w 1995342"/>
              <a:gd name="connsiteY3" fmla="*/ 640502 h 640502"/>
              <a:gd name="connsiteX4" fmla="*/ 0 w 1995342"/>
              <a:gd name="connsiteY4" fmla="*/ 0 h 640502"/>
              <a:gd name="connsiteX0" fmla="*/ 0 w 1995342"/>
              <a:gd name="connsiteY0" fmla="*/ 0 h 640502"/>
              <a:gd name="connsiteX1" fmla="*/ 1442591 w 1995342"/>
              <a:gd name="connsiteY1" fmla="*/ 882 h 640502"/>
              <a:gd name="connsiteX2" fmla="*/ 1995342 w 1995342"/>
              <a:gd name="connsiteY2" fmla="*/ 640502 h 640502"/>
              <a:gd name="connsiteX3" fmla="*/ 0 w 1995342"/>
              <a:gd name="connsiteY3" fmla="*/ 640502 h 640502"/>
              <a:gd name="connsiteX4" fmla="*/ 0 w 1995342"/>
              <a:gd name="connsiteY4" fmla="*/ 0 h 6405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95342" h="640502">
                <a:moveTo>
                  <a:pt x="0" y="0"/>
                </a:moveTo>
                <a:lnTo>
                  <a:pt x="1442591" y="882"/>
                </a:lnTo>
                <a:lnTo>
                  <a:pt x="1995342" y="640502"/>
                </a:lnTo>
                <a:lnTo>
                  <a:pt x="0" y="640502"/>
                </a:lnTo>
                <a:lnTo>
                  <a:pt x="0" y="0"/>
                </a:lnTo>
                <a:close/>
              </a:path>
            </a:pathLst>
          </a:custGeom>
          <a:ln>
            <a:noFill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sz="1100" dirty="0"/>
          </a:p>
        </p:txBody>
      </p:sp>
    </p:spTree>
    <p:extLst>
      <p:ext uri="{BB962C8B-B14F-4D97-AF65-F5344CB8AC3E}">
        <p14:creationId xmlns:p14="http://schemas.microsoft.com/office/powerpoint/2010/main" val="27025143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5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4" name="Google Shape;54;p13" title="Career Ladders Project Logo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9154567" y="398433"/>
            <a:ext cx="2735567" cy="972400"/>
          </a:xfrm>
          <a:prstGeom prst="rect">
            <a:avLst/>
          </a:prstGeom>
          <a:noFill/>
          <a:ln>
            <a:noFill/>
          </a:ln>
        </p:spPr>
      </p:pic>
      <p:sp>
        <p:nvSpPr>
          <p:cNvPr id="55" name="Google Shape;55;p13" title="Decorative"/>
          <p:cNvSpPr/>
          <p:nvPr/>
        </p:nvSpPr>
        <p:spPr>
          <a:xfrm>
            <a:off x="-9367" y="2440233"/>
            <a:ext cx="11577200" cy="83600"/>
          </a:xfrm>
          <a:prstGeom prst="rect">
            <a:avLst/>
          </a:prstGeom>
          <a:solidFill>
            <a:srgbClr val="F6C65B"/>
          </a:solidFill>
          <a:ln w="9525" cap="flat" cmpd="sng">
            <a:solidFill>
              <a:srgbClr val="F6C65B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defTabSz="1219170">
              <a:buClr>
                <a:srgbClr val="000000"/>
              </a:buClr>
            </a:pPr>
            <a:endParaRPr sz="1867" kern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56" name="Google Shape;56;p13" title="Decorative"/>
          <p:cNvSpPr/>
          <p:nvPr/>
        </p:nvSpPr>
        <p:spPr>
          <a:xfrm>
            <a:off x="10800" y="4683533"/>
            <a:ext cx="12197200" cy="1877600"/>
          </a:xfrm>
          <a:prstGeom prst="rect">
            <a:avLst/>
          </a:prstGeom>
          <a:solidFill>
            <a:srgbClr val="004270"/>
          </a:solidFill>
          <a:ln w="9525" cap="flat" cmpd="sng">
            <a:solidFill>
              <a:srgbClr val="004270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defTabSz="1219170">
              <a:buClr>
                <a:srgbClr val="000000"/>
              </a:buClr>
            </a:pPr>
            <a:endParaRPr sz="1867" kern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57" name="Google Shape;57;p13" title="Decorative"/>
          <p:cNvSpPr/>
          <p:nvPr/>
        </p:nvSpPr>
        <p:spPr>
          <a:xfrm>
            <a:off x="583067" y="2523832"/>
            <a:ext cx="11624800" cy="83600"/>
          </a:xfrm>
          <a:prstGeom prst="rect">
            <a:avLst/>
          </a:prstGeom>
          <a:solidFill>
            <a:srgbClr val="004270"/>
          </a:solidFill>
          <a:ln w="9525" cap="flat" cmpd="sng">
            <a:solidFill>
              <a:srgbClr val="004270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defTabSz="1219170">
              <a:buClr>
                <a:srgbClr val="000000"/>
              </a:buClr>
            </a:pPr>
            <a:endParaRPr sz="1867" kern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58" name="Google Shape;58;p13"/>
          <p:cNvSpPr txBox="1"/>
          <p:nvPr/>
        </p:nvSpPr>
        <p:spPr>
          <a:xfrm>
            <a:off x="5506400" y="4683534"/>
            <a:ext cx="6455200" cy="180571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spAutoFit/>
          </a:bodyPr>
          <a:lstStyle/>
          <a:p>
            <a:pPr algn="just" defTabSz="1219170">
              <a:buClr>
                <a:srgbClr val="000000"/>
              </a:buClr>
            </a:pPr>
            <a:r>
              <a:rPr lang="en" sz="2133" kern="0">
                <a:solidFill>
                  <a:srgbClr val="FFFFFF"/>
                </a:solidFill>
                <a:latin typeface="Arial"/>
                <a:cs typeface="Arial"/>
                <a:sym typeface="Arial"/>
              </a:rPr>
              <a:t>Speakers</a:t>
            </a:r>
            <a:endParaRPr sz="2133" kern="0">
              <a:solidFill>
                <a:srgbClr val="FFFFFF"/>
              </a:solidFill>
              <a:latin typeface="Arial"/>
              <a:cs typeface="Arial"/>
              <a:sym typeface="Arial"/>
            </a:endParaRPr>
          </a:p>
          <a:p>
            <a:pPr algn="just" defTabSz="1219170">
              <a:buClr>
                <a:srgbClr val="000000"/>
              </a:buClr>
            </a:pPr>
            <a:r>
              <a:rPr lang="en" sz="2667" kern="0">
                <a:solidFill>
                  <a:srgbClr val="FFFFFF"/>
                </a:solidFill>
                <a:latin typeface="Arial"/>
                <a:cs typeface="Arial"/>
                <a:sym typeface="Arial"/>
              </a:rPr>
              <a:t>Michelle Simotas,</a:t>
            </a:r>
            <a:r>
              <a:rPr lang="en" sz="2400" kern="0">
                <a:solidFill>
                  <a:srgbClr val="FFFFFF"/>
                </a:solidFill>
                <a:latin typeface="Arial"/>
                <a:cs typeface="Arial"/>
                <a:sym typeface="Arial"/>
              </a:rPr>
              <a:t> </a:t>
            </a:r>
            <a:r>
              <a:rPr lang="en" sz="1600" kern="0">
                <a:solidFill>
                  <a:srgbClr val="FFFFFF"/>
                </a:solidFill>
                <a:latin typeface="Arial"/>
                <a:cs typeface="Arial"/>
                <a:sym typeface="Arial"/>
              </a:rPr>
              <a:t>CLP</a:t>
            </a:r>
            <a:endParaRPr sz="1600" kern="0">
              <a:solidFill>
                <a:srgbClr val="FFFFFF"/>
              </a:solidFill>
              <a:latin typeface="Arial"/>
              <a:cs typeface="Arial"/>
              <a:sym typeface="Arial"/>
            </a:endParaRPr>
          </a:p>
          <a:p>
            <a:pPr algn="just" defTabSz="1219170">
              <a:buClr>
                <a:srgbClr val="000000"/>
              </a:buClr>
            </a:pPr>
            <a:r>
              <a:rPr lang="en" sz="2667" kern="0">
                <a:solidFill>
                  <a:srgbClr val="FFFFFF"/>
                </a:solidFill>
                <a:latin typeface="Arial"/>
                <a:cs typeface="Arial"/>
                <a:sym typeface="Arial"/>
              </a:rPr>
              <a:t>Luis Chavez,</a:t>
            </a:r>
            <a:r>
              <a:rPr lang="en" sz="2400" kern="0">
                <a:solidFill>
                  <a:srgbClr val="FFFFFF"/>
                </a:solidFill>
                <a:latin typeface="Arial"/>
                <a:cs typeface="Arial"/>
                <a:sym typeface="Arial"/>
              </a:rPr>
              <a:t> </a:t>
            </a:r>
            <a:r>
              <a:rPr lang="en" sz="1600" kern="0">
                <a:solidFill>
                  <a:srgbClr val="FFFFFF"/>
                </a:solidFill>
                <a:latin typeface="Arial"/>
                <a:cs typeface="Arial"/>
                <a:sym typeface="Arial"/>
              </a:rPr>
              <a:t>CLP</a:t>
            </a:r>
            <a:endParaRPr sz="1600" kern="0">
              <a:solidFill>
                <a:srgbClr val="FFFFFF"/>
              </a:solidFill>
              <a:latin typeface="Arial"/>
              <a:cs typeface="Arial"/>
              <a:sym typeface="Arial"/>
            </a:endParaRPr>
          </a:p>
          <a:p>
            <a:pPr algn="just" defTabSz="1219170">
              <a:buClr>
                <a:srgbClr val="000000"/>
              </a:buClr>
            </a:pPr>
            <a:r>
              <a:rPr lang="en" sz="2667" kern="0">
                <a:solidFill>
                  <a:srgbClr val="FFFFFF"/>
                </a:solidFill>
                <a:latin typeface="Arial"/>
                <a:cs typeface="Arial"/>
                <a:sym typeface="Arial"/>
              </a:rPr>
              <a:t>Julian West,</a:t>
            </a:r>
            <a:r>
              <a:rPr lang="en" sz="2400" kern="0">
                <a:solidFill>
                  <a:srgbClr val="FFFFFF"/>
                </a:solidFill>
                <a:latin typeface="Arial"/>
                <a:cs typeface="Arial"/>
                <a:sym typeface="Arial"/>
              </a:rPr>
              <a:t> </a:t>
            </a:r>
            <a:r>
              <a:rPr lang="en" sz="1600" kern="0">
                <a:solidFill>
                  <a:srgbClr val="FFFFFF"/>
                </a:solidFill>
                <a:latin typeface="Arial"/>
                <a:cs typeface="Arial"/>
                <a:sym typeface="Arial"/>
              </a:rPr>
              <a:t>CLP</a:t>
            </a:r>
            <a:endParaRPr sz="1600" kern="0">
              <a:solidFill>
                <a:srgbClr val="FFFFFF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59" name="Google Shape;59;p13"/>
          <p:cNvSpPr txBox="1"/>
          <p:nvPr/>
        </p:nvSpPr>
        <p:spPr>
          <a:xfrm>
            <a:off x="583067" y="3429001"/>
            <a:ext cx="4831200" cy="65661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spAutoFit/>
          </a:bodyPr>
          <a:lstStyle/>
          <a:p>
            <a:pPr defTabSz="1219170">
              <a:buClr>
                <a:srgbClr val="000000"/>
              </a:buClr>
            </a:pPr>
            <a:r>
              <a:rPr lang="en" sz="2667" kern="0">
                <a:solidFill>
                  <a:srgbClr val="004270"/>
                </a:solidFill>
                <a:latin typeface="Arial"/>
                <a:cs typeface="Arial"/>
                <a:sym typeface="Arial"/>
              </a:rPr>
              <a:t>August 17, 2021</a:t>
            </a:r>
            <a:endParaRPr sz="2667" kern="0">
              <a:solidFill>
                <a:srgbClr val="00427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60" name="Google Shape;60;p13"/>
          <p:cNvSpPr txBox="1">
            <a:spLocks noGrp="1"/>
          </p:cNvSpPr>
          <p:nvPr>
            <p:ph type="ctrTitle"/>
          </p:nvPr>
        </p:nvSpPr>
        <p:spPr>
          <a:xfrm>
            <a:off x="481467" y="1335000"/>
            <a:ext cx="11211200" cy="2398800"/>
          </a:xfrm>
          <a:prstGeom prst="rect">
            <a:avLst/>
          </a:prstGeom>
        </p:spPr>
        <p:txBody>
          <a:bodyPr spcFirstLastPara="1" wrap="square" lIns="121900" tIns="121900" rIns="121900" bIns="121900" anchor="t" anchorCtr="0">
            <a:normAutofit fontScale="90000"/>
          </a:bodyPr>
          <a:lstStyle/>
          <a:p>
            <a:pPr algn="l"/>
            <a:r>
              <a:rPr lang="en" sz="7110">
                <a:solidFill>
                  <a:srgbClr val="004270"/>
                </a:solidFill>
              </a:rPr>
              <a:t>Cultural Center Focus Groups</a:t>
            </a:r>
            <a:endParaRPr sz="7110">
              <a:solidFill>
                <a:srgbClr val="004270"/>
              </a:solidFill>
            </a:endParaRPr>
          </a:p>
          <a:p>
            <a:pPr algn="l"/>
            <a:endParaRPr sz="1333">
              <a:solidFill>
                <a:srgbClr val="004270"/>
              </a:solidFill>
            </a:endParaRPr>
          </a:p>
          <a:p>
            <a:pPr algn="l">
              <a:buSzPts val="990"/>
            </a:pPr>
            <a:r>
              <a:rPr lang="en" sz="5867">
                <a:solidFill>
                  <a:srgbClr val="004270"/>
                </a:solidFill>
              </a:rPr>
              <a:t>Cañada College</a:t>
            </a:r>
            <a:endParaRPr sz="5867">
              <a:solidFill>
                <a:srgbClr val="004270"/>
              </a:solidFill>
            </a:endParaRPr>
          </a:p>
        </p:txBody>
      </p:sp>
      <p:pic>
        <p:nvPicPr>
          <p:cNvPr id="61" name="Google Shape;61;p13"/>
          <p:cNvPicPr preferRelativeResize="0"/>
          <p:nvPr/>
        </p:nvPicPr>
        <p:blipFill>
          <a:blip r:embed="rId4">
            <a:alphaModFix/>
          </a:blip>
          <a:stretch>
            <a:fillRect/>
          </a:stretch>
        </p:blipFill>
        <p:spPr>
          <a:xfrm>
            <a:off x="6466000" y="218167"/>
            <a:ext cx="2547397" cy="1143101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3348304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6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" name="Google Shape;66;p14" title="Decorative"/>
          <p:cNvSpPr/>
          <p:nvPr/>
        </p:nvSpPr>
        <p:spPr>
          <a:xfrm>
            <a:off x="-2600" y="1273367"/>
            <a:ext cx="11577200" cy="83600"/>
          </a:xfrm>
          <a:prstGeom prst="rect">
            <a:avLst/>
          </a:prstGeom>
          <a:solidFill>
            <a:srgbClr val="F6C65B"/>
          </a:solidFill>
          <a:ln w="9525" cap="flat" cmpd="sng">
            <a:solidFill>
              <a:srgbClr val="F6C65B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defTabSz="1219170">
              <a:buClr>
                <a:srgbClr val="000000"/>
              </a:buClr>
            </a:pPr>
            <a:endParaRPr sz="1867" kern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67" name="Google Shape;67;p14" title="Decorative"/>
          <p:cNvSpPr/>
          <p:nvPr/>
        </p:nvSpPr>
        <p:spPr>
          <a:xfrm>
            <a:off x="-2600" y="4877967"/>
            <a:ext cx="12197200" cy="1613200"/>
          </a:xfrm>
          <a:prstGeom prst="rect">
            <a:avLst/>
          </a:prstGeom>
          <a:solidFill>
            <a:srgbClr val="004270"/>
          </a:solidFill>
          <a:ln w="9525" cap="flat" cmpd="sng">
            <a:solidFill>
              <a:srgbClr val="004270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defTabSz="1219170">
              <a:buClr>
                <a:srgbClr val="000000"/>
              </a:buClr>
            </a:pPr>
            <a:endParaRPr sz="1867" kern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68" name="Google Shape;68;p14" title="Decorative"/>
          <p:cNvSpPr/>
          <p:nvPr/>
        </p:nvSpPr>
        <p:spPr>
          <a:xfrm>
            <a:off x="603733" y="1356967"/>
            <a:ext cx="11577200" cy="83600"/>
          </a:xfrm>
          <a:prstGeom prst="rect">
            <a:avLst/>
          </a:prstGeom>
          <a:solidFill>
            <a:srgbClr val="004270"/>
          </a:solidFill>
          <a:ln w="9525" cap="flat" cmpd="sng">
            <a:solidFill>
              <a:srgbClr val="004270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defTabSz="1219170">
              <a:buClr>
                <a:srgbClr val="000000"/>
              </a:buClr>
            </a:pPr>
            <a:endParaRPr sz="1867" kern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69" name="Google Shape;69;p14"/>
          <p:cNvSpPr txBox="1"/>
          <p:nvPr/>
        </p:nvSpPr>
        <p:spPr>
          <a:xfrm>
            <a:off x="9071333" y="5170568"/>
            <a:ext cx="2907200" cy="943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spAutoFit/>
          </a:bodyPr>
          <a:lstStyle/>
          <a:p>
            <a:pPr defTabSz="1219170">
              <a:buClr>
                <a:srgbClr val="000000"/>
              </a:buClr>
            </a:pPr>
            <a:r>
              <a:rPr lang="en" sz="2667" kern="0">
                <a:solidFill>
                  <a:srgbClr val="FFFFFF"/>
                </a:solidFill>
                <a:latin typeface="Arial"/>
                <a:cs typeface="Arial"/>
                <a:sym typeface="Arial"/>
              </a:rPr>
              <a:t>Julian West</a:t>
            </a:r>
            <a:endParaRPr sz="2667" kern="0">
              <a:solidFill>
                <a:srgbClr val="FFFFFF"/>
              </a:solidFill>
              <a:latin typeface="Arial"/>
              <a:cs typeface="Arial"/>
              <a:sym typeface="Arial"/>
            </a:endParaRPr>
          </a:p>
          <a:p>
            <a:pPr defTabSz="1219170">
              <a:buClr>
                <a:srgbClr val="000000"/>
              </a:buClr>
            </a:pPr>
            <a:r>
              <a:rPr lang="en" sz="1867" kern="0">
                <a:solidFill>
                  <a:srgbClr val="FFFFFF"/>
                </a:solidFill>
                <a:latin typeface="Arial"/>
                <a:cs typeface="Arial"/>
                <a:sym typeface="Arial"/>
              </a:rPr>
              <a:t>Director</a:t>
            </a:r>
            <a:endParaRPr sz="1867" kern="0">
              <a:solidFill>
                <a:srgbClr val="FFFFFF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70" name="Google Shape;70;p14"/>
          <p:cNvSpPr txBox="1"/>
          <p:nvPr/>
        </p:nvSpPr>
        <p:spPr>
          <a:xfrm>
            <a:off x="4794800" y="5170567"/>
            <a:ext cx="3212000" cy="943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spAutoFit/>
          </a:bodyPr>
          <a:lstStyle/>
          <a:p>
            <a:pPr defTabSz="1219170">
              <a:buClr>
                <a:srgbClr val="000000"/>
              </a:buClr>
            </a:pPr>
            <a:r>
              <a:rPr lang="en" sz="2667" kern="0">
                <a:solidFill>
                  <a:srgbClr val="FFFFFF"/>
                </a:solidFill>
                <a:latin typeface="Arial"/>
                <a:cs typeface="Arial"/>
                <a:sym typeface="Arial"/>
              </a:rPr>
              <a:t>Michelle Simotas</a:t>
            </a:r>
            <a:endParaRPr sz="2667" kern="0">
              <a:solidFill>
                <a:srgbClr val="FFFFFF"/>
              </a:solidFill>
              <a:latin typeface="Arial"/>
              <a:cs typeface="Arial"/>
              <a:sym typeface="Arial"/>
            </a:endParaRPr>
          </a:p>
          <a:p>
            <a:pPr defTabSz="1219170">
              <a:buClr>
                <a:srgbClr val="000000"/>
              </a:buClr>
            </a:pPr>
            <a:r>
              <a:rPr lang="en" sz="1867" kern="0">
                <a:solidFill>
                  <a:srgbClr val="FFFFFF"/>
                </a:solidFill>
                <a:latin typeface="Arial"/>
                <a:cs typeface="Arial"/>
                <a:sym typeface="Arial"/>
              </a:rPr>
              <a:t>Director</a:t>
            </a:r>
            <a:endParaRPr sz="1867" kern="0">
              <a:solidFill>
                <a:srgbClr val="FFFFFF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71" name="Google Shape;71;p14"/>
          <p:cNvSpPr txBox="1"/>
          <p:nvPr/>
        </p:nvSpPr>
        <p:spPr>
          <a:xfrm>
            <a:off x="720400" y="5170568"/>
            <a:ext cx="2907200" cy="943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spAutoFit/>
          </a:bodyPr>
          <a:lstStyle/>
          <a:p>
            <a:pPr defTabSz="1219170">
              <a:buClr>
                <a:srgbClr val="000000"/>
              </a:buClr>
            </a:pPr>
            <a:r>
              <a:rPr lang="en" sz="2667" kern="0">
                <a:solidFill>
                  <a:srgbClr val="FFFFFF"/>
                </a:solidFill>
                <a:latin typeface="Arial"/>
                <a:cs typeface="Arial"/>
                <a:sym typeface="Arial"/>
              </a:rPr>
              <a:t>Luis Chavez</a:t>
            </a:r>
            <a:endParaRPr sz="2667" kern="0">
              <a:solidFill>
                <a:srgbClr val="FFFFFF"/>
              </a:solidFill>
              <a:latin typeface="Arial"/>
              <a:cs typeface="Arial"/>
              <a:sym typeface="Arial"/>
            </a:endParaRPr>
          </a:p>
          <a:p>
            <a:pPr defTabSz="1219170">
              <a:buClr>
                <a:srgbClr val="000000"/>
              </a:buClr>
            </a:pPr>
            <a:r>
              <a:rPr lang="en" sz="1867" kern="0">
                <a:solidFill>
                  <a:srgbClr val="FFFFFF"/>
                </a:solidFill>
                <a:latin typeface="Arial"/>
                <a:cs typeface="Arial"/>
                <a:sym typeface="Arial"/>
              </a:rPr>
              <a:t>Senior Director</a:t>
            </a:r>
            <a:endParaRPr sz="1867" kern="0">
              <a:solidFill>
                <a:srgbClr val="FFFFFF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72" name="Google Shape;72;p14"/>
          <p:cNvSpPr txBox="1">
            <a:spLocks noGrp="1"/>
          </p:cNvSpPr>
          <p:nvPr>
            <p:ph type="title"/>
          </p:nvPr>
        </p:nvSpPr>
        <p:spPr>
          <a:xfrm>
            <a:off x="415600" y="509767"/>
            <a:ext cx="11360800" cy="763600"/>
          </a:xfrm>
          <a:prstGeom prst="rect">
            <a:avLst/>
          </a:prstGeom>
        </p:spPr>
        <p:txBody>
          <a:bodyPr spcFirstLastPara="1" wrap="square" lIns="121900" tIns="121900" rIns="121900" bIns="121900" anchor="t" anchorCtr="0">
            <a:noAutofit/>
          </a:bodyPr>
          <a:lstStyle/>
          <a:p>
            <a:r>
              <a:rPr lang="en" sz="4000">
                <a:solidFill>
                  <a:srgbClr val="004270"/>
                </a:solidFill>
              </a:rPr>
              <a:t>CLP Team</a:t>
            </a:r>
            <a:endParaRPr sz="4000">
              <a:solidFill>
                <a:srgbClr val="004270"/>
              </a:solidFill>
            </a:endParaRPr>
          </a:p>
        </p:txBody>
      </p:sp>
      <p:pic>
        <p:nvPicPr>
          <p:cNvPr id="73" name="Google Shape;73;p14"/>
          <p:cNvPicPr preferRelativeResize="0"/>
          <p:nvPr/>
        </p:nvPicPr>
        <p:blipFill rotWithShape="1">
          <a:blip r:embed="rId3">
            <a:alphaModFix/>
          </a:blip>
          <a:srcRect r="6594"/>
          <a:stretch/>
        </p:blipFill>
        <p:spPr>
          <a:xfrm>
            <a:off x="891887" y="2085956"/>
            <a:ext cx="2183200" cy="2337600"/>
          </a:xfrm>
          <a:prstGeom prst="ellipse">
            <a:avLst/>
          </a:prstGeom>
          <a:noFill/>
          <a:ln>
            <a:noFill/>
          </a:ln>
        </p:spPr>
      </p:pic>
      <p:pic>
        <p:nvPicPr>
          <p:cNvPr id="74" name="Google Shape;74;p14"/>
          <p:cNvPicPr preferRelativeResize="0"/>
          <p:nvPr/>
        </p:nvPicPr>
        <p:blipFill rotWithShape="1">
          <a:blip r:embed="rId4">
            <a:alphaModFix/>
          </a:blip>
          <a:srcRect r="7045"/>
          <a:stretch/>
        </p:blipFill>
        <p:spPr>
          <a:xfrm>
            <a:off x="9071333" y="2141383"/>
            <a:ext cx="2069600" cy="2226800"/>
          </a:xfrm>
          <a:prstGeom prst="ellipse">
            <a:avLst/>
          </a:prstGeom>
          <a:noFill/>
          <a:ln>
            <a:noFill/>
          </a:ln>
        </p:spPr>
      </p:pic>
      <p:pic>
        <p:nvPicPr>
          <p:cNvPr id="75" name="Google Shape;75;p14"/>
          <p:cNvPicPr preferRelativeResize="0"/>
          <p:nvPr/>
        </p:nvPicPr>
        <p:blipFill>
          <a:blip r:embed="rId5">
            <a:alphaModFix/>
          </a:blip>
          <a:stretch>
            <a:fillRect/>
          </a:stretch>
        </p:blipFill>
        <p:spPr>
          <a:xfrm>
            <a:off x="5108467" y="2153400"/>
            <a:ext cx="2337600" cy="2337600"/>
          </a:xfrm>
          <a:prstGeom prst="ellipse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2173988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0" name="Google Shape;80;p15" title="Decorative"/>
          <p:cNvSpPr/>
          <p:nvPr/>
        </p:nvSpPr>
        <p:spPr>
          <a:xfrm rot="5400000">
            <a:off x="-995600" y="3396200"/>
            <a:ext cx="6886400" cy="65600"/>
          </a:xfrm>
          <a:prstGeom prst="rect">
            <a:avLst/>
          </a:prstGeom>
          <a:solidFill>
            <a:srgbClr val="F6C65B"/>
          </a:solidFill>
          <a:ln w="9525" cap="flat" cmpd="sng">
            <a:solidFill>
              <a:srgbClr val="F6C65B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defTabSz="1219170">
              <a:buClr>
                <a:srgbClr val="000000"/>
              </a:buClr>
            </a:pPr>
            <a:endParaRPr sz="1867" kern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81" name="Google Shape;81;p15" title="Decorative"/>
          <p:cNvSpPr/>
          <p:nvPr/>
        </p:nvSpPr>
        <p:spPr>
          <a:xfrm rot="5400000">
            <a:off x="-2231000" y="2221600"/>
            <a:ext cx="6876800" cy="2414800"/>
          </a:xfrm>
          <a:prstGeom prst="rect">
            <a:avLst/>
          </a:prstGeom>
          <a:solidFill>
            <a:srgbClr val="004270"/>
          </a:solidFill>
          <a:ln w="9525" cap="flat" cmpd="sng">
            <a:solidFill>
              <a:srgbClr val="004270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defTabSz="1219170">
              <a:buClr>
                <a:srgbClr val="000000"/>
              </a:buClr>
            </a:pPr>
            <a:endParaRPr sz="1867" kern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pic>
        <p:nvPicPr>
          <p:cNvPr id="82" name="Google Shape;82;p15"/>
          <p:cNvPicPr preferRelativeResize="0"/>
          <p:nvPr/>
        </p:nvPicPr>
        <p:blipFill rotWithShape="1">
          <a:blip r:embed="rId3">
            <a:alphaModFix amt="41000"/>
          </a:blip>
          <a:srcRect l="41123" r="34768"/>
          <a:stretch/>
        </p:blipFill>
        <p:spPr>
          <a:xfrm>
            <a:off x="3" y="1"/>
            <a:ext cx="2480531" cy="6858001"/>
          </a:xfrm>
          <a:prstGeom prst="rect">
            <a:avLst/>
          </a:prstGeom>
          <a:noFill/>
          <a:ln>
            <a:noFill/>
          </a:ln>
        </p:spPr>
      </p:pic>
      <p:sp>
        <p:nvSpPr>
          <p:cNvPr id="83" name="Google Shape;83;p15"/>
          <p:cNvSpPr txBox="1"/>
          <p:nvPr/>
        </p:nvSpPr>
        <p:spPr>
          <a:xfrm>
            <a:off x="2886600" y="1231734"/>
            <a:ext cx="8801200" cy="447862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spAutoFit/>
          </a:bodyPr>
          <a:lstStyle/>
          <a:p>
            <a:pPr defTabSz="1219170">
              <a:buClr>
                <a:srgbClr val="000000"/>
              </a:buClr>
            </a:pPr>
            <a:r>
              <a:rPr lang="en" sz="4000" kern="0">
                <a:solidFill>
                  <a:srgbClr val="004270"/>
                </a:solidFill>
                <a:latin typeface="Arial"/>
                <a:cs typeface="Arial"/>
                <a:sym typeface="Arial"/>
              </a:rPr>
              <a:t>About CLP</a:t>
            </a:r>
            <a:endParaRPr sz="4000" kern="0">
              <a:solidFill>
                <a:srgbClr val="004270"/>
              </a:solidFill>
              <a:latin typeface="Arial"/>
              <a:cs typeface="Arial"/>
              <a:sym typeface="Arial"/>
            </a:endParaRPr>
          </a:p>
          <a:p>
            <a:pPr defTabSz="1219170">
              <a:spcBef>
                <a:spcPts val="1333"/>
              </a:spcBef>
              <a:buClr>
                <a:srgbClr val="000000"/>
              </a:buClr>
              <a:buSzPts val="1100"/>
            </a:pPr>
            <a:r>
              <a:rPr lang="en" sz="2667" kern="0">
                <a:solidFill>
                  <a:srgbClr val="004270"/>
                </a:solidFill>
                <a:latin typeface="Arial"/>
                <a:cs typeface="Arial"/>
                <a:sym typeface="Arial"/>
              </a:rPr>
              <a:t>Career Ladders Project promotes equity-minded</a:t>
            </a:r>
            <a:endParaRPr sz="2667" kern="0">
              <a:solidFill>
                <a:srgbClr val="004270"/>
              </a:solidFill>
              <a:latin typeface="Arial"/>
              <a:cs typeface="Arial"/>
              <a:sym typeface="Arial"/>
            </a:endParaRPr>
          </a:p>
          <a:p>
            <a:pPr defTabSz="1219170">
              <a:buClr>
                <a:srgbClr val="000000"/>
              </a:buClr>
              <a:buSzPts val="1100"/>
            </a:pPr>
            <a:r>
              <a:rPr lang="en" sz="2667" kern="0">
                <a:solidFill>
                  <a:srgbClr val="004270"/>
                </a:solidFill>
                <a:latin typeface="Arial"/>
                <a:cs typeface="Arial"/>
                <a:sym typeface="Arial"/>
              </a:rPr>
              <a:t>community college redesign.</a:t>
            </a:r>
            <a:endParaRPr sz="2667" kern="0">
              <a:solidFill>
                <a:srgbClr val="004270"/>
              </a:solidFill>
              <a:latin typeface="Arial"/>
              <a:cs typeface="Arial"/>
              <a:sym typeface="Arial"/>
            </a:endParaRPr>
          </a:p>
          <a:p>
            <a:pPr defTabSz="1219170">
              <a:spcBef>
                <a:spcPts val="1333"/>
              </a:spcBef>
              <a:buClr>
                <a:srgbClr val="000000"/>
              </a:buClr>
              <a:buSzPts val="1100"/>
            </a:pPr>
            <a:r>
              <a:rPr lang="en" sz="2667" kern="0">
                <a:solidFill>
                  <a:srgbClr val="004270"/>
                </a:solidFill>
                <a:latin typeface="Arial"/>
                <a:cs typeface="Arial"/>
                <a:sym typeface="Arial"/>
              </a:rPr>
              <a:t>We collaborate with colleges and their partners to</a:t>
            </a:r>
            <a:endParaRPr sz="2667" kern="0">
              <a:solidFill>
                <a:srgbClr val="004270"/>
              </a:solidFill>
              <a:latin typeface="Arial"/>
              <a:cs typeface="Arial"/>
              <a:sym typeface="Arial"/>
            </a:endParaRPr>
          </a:p>
          <a:p>
            <a:pPr defTabSz="1219170">
              <a:buClr>
                <a:srgbClr val="000000"/>
              </a:buClr>
            </a:pPr>
            <a:r>
              <a:rPr lang="en" sz="2667" kern="0">
                <a:solidFill>
                  <a:srgbClr val="004270"/>
                </a:solidFill>
                <a:latin typeface="Arial"/>
                <a:cs typeface="Arial"/>
                <a:sym typeface="Arial"/>
              </a:rPr>
              <a:t>discover, develop, and disseminate effective practices. Our policy work, research, and direct efforts with colleges lead to system change—and enable more students to attain certificates, degrees, transfers, and career advancement.</a:t>
            </a:r>
            <a:endParaRPr sz="3333" kern="0">
              <a:solidFill>
                <a:srgbClr val="004270"/>
              </a:solidFill>
              <a:latin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9143895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dirty="0" smtClean="0"/>
              <a:t>New Employee Orientation now in Canvas!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200" y="1825625"/>
            <a:ext cx="10515600" cy="811697"/>
          </a:xfrm>
        </p:spPr>
        <p:txBody>
          <a:bodyPr/>
          <a:lstStyle/>
          <a:p>
            <a:pPr marL="0" indent="0" algn="ctr">
              <a:buNone/>
            </a:pPr>
            <a:r>
              <a:rPr lang="en-US" dirty="0">
                <a:hlinkClick r:id="rId2"/>
              </a:rPr>
              <a:t>https://</a:t>
            </a:r>
            <a:r>
              <a:rPr lang="en-US" dirty="0" smtClean="0">
                <a:hlinkClick r:id="rId2"/>
              </a:rPr>
              <a:t>smccd.instructure.com/courses/33551</a:t>
            </a:r>
            <a:endParaRPr lang="en-US" dirty="0" smtClean="0"/>
          </a:p>
          <a:p>
            <a:pPr marL="0" indent="0" algn="ctr">
              <a:buNone/>
            </a:pPr>
            <a:endParaRPr lang="en-US" dirty="0"/>
          </a:p>
        </p:txBody>
      </p:sp>
      <p:pic>
        <p:nvPicPr>
          <p:cNvPr id="1026" name="Picture 2" descr="New Faculty &amp; Staff Orientation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78497" y="2772259"/>
            <a:ext cx="8767044" cy="43835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739598114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8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8" name="Google Shape;88;p16" title="Decorative"/>
          <p:cNvSpPr/>
          <p:nvPr/>
        </p:nvSpPr>
        <p:spPr>
          <a:xfrm>
            <a:off x="-2600" y="5754300"/>
            <a:ext cx="12197200" cy="835600"/>
          </a:xfrm>
          <a:prstGeom prst="rect">
            <a:avLst/>
          </a:prstGeom>
          <a:solidFill>
            <a:srgbClr val="004270"/>
          </a:solidFill>
          <a:ln w="9525" cap="flat" cmpd="sng">
            <a:solidFill>
              <a:srgbClr val="004270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defTabSz="1219170">
              <a:buClr>
                <a:srgbClr val="000000"/>
              </a:buClr>
            </a:pPr>
            <a:endParaRPr sz="1867" kern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89" name="Google Shape;89;p16"/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wrap="square" lIns="121900" tIns="121900" rIns="121900" bIns="121900" anchor="t" anchorCtr="0">
            <a:noAutofit/>
          </a:bodyPr>
          <a:lstStyle/>
          <a:p>
            <a:r>
              <a:rPr lang="en" sz="4000">
                <a:solidFill>
                  <a:srgbClr val="004270"/>
                </a:solidFill>
              </a:rPr>
              <a:t>Purpose of the Focus Groups</a:t>
            </a:r>
            <a:endParaRPr sz="4000">
              <a:solidFill>
                <a:srgbClr val="004270"/>
              </a:solidFill>
            </a:endParaRPr>
          </a:p>
        </p:txBody>
      </p:sp>
      <p:sp>
        <p:nvSpPr>
          <p:cNvPr id="90" name="Google Shape;90;p16" title="Decorative"/>
          <p:cNvSpPr/>
          <p:nvPr/>
        </p:nvSpPr>
        <p:spPr>
          <a:xfrm>
            <a:off x="4033" y="1450484"/>
            <a:ext cx="11577200" cy="83600"/>
          </a:xfrm>
          <a:prstGeom prst="rect">
            <a:avLst/>
          </a:prstGeom>
          <a:solidFill>
            <a:srgbClr val="F6C65B"/>
          </a:solidFill>
          <a:ln w="9525" cap="flat" cmpd="sng">
            <a:solidFill>
              <a:srgbClr val="F6C65B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defTabSz="1219170">
              <a:buClr>
                <a:srgbClr val="000000"/>
              </a:buClr>
            </a:pPr>
            <a:endParaRPr sz="1867" kern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91" name="Google Shape;91;p16" title="Decorative"/>
          <p:cNvSpPr/>
          <p:nvPr/>
        </p:nvSpPr>
        <p:spPr>
          <a:xfrm>
            <a:off x="516533" y="1534100"/>
            <a:ext cx="11691600" cy="65600"/>
          </a:xfrm>
          <a:prstGeom prst="rect">
            <a:avLst/>
          </a:prstGeom>
          <a:solidFill>
            <a:srgbClr val="004270"/>
          </a:solidFill>
          <a:ln w="9525" cap="flat" cmpd="sng">
            <a:solidFill>
              <a:srgbClr val="004270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defTabSz="1219170">
              <a:buClr>
                <a:srgbClr val="000000"/>
              </a:buClr>
            </a:pPr>
            <a:endParaRPr sz="1867" kern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92" name="Google Shape;92;p16"/>
          <p:cNvSpPr txBox="1"/>
          <p:nvPr/>
        </p:nvSpPr>
        <p:spPr>
          <a:xfrm>
            <a:off x="832000" y="1912000"/>
            <a:ext cx="10378800" cy="35296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spAutoFit/>
          </a:bodyPr>
          <a:lstStyle/>
          <a:p>
            <a:pPr marL="609585" defTabSz="1219170">
              <a:buClr>
                <a:srgbClr val="000000"/>
              </a:buClr>
            </a:pPr>
            <a:r>
              <a:rPr lang="en" sz="2667" kern="0">
                <a:solidFill>
                  <a:srgbClr val="004270"/>
                </a:solidFill>
                <a:latin typeface="Arial"/>
                <a:cs typeface="Arial"/>
                <a:sym typeface="Arial"/>
              </a:rPr>
              <a:t>The goals of the focus group were to develop a better understanding of the needs of the college community </a:t>
            </a:r>
            <a:endParaRPr sz="2667" kern="0">
              <a:solidFill>
                <a:srgbClr val="004270"/>
              </a:solidFill>
              <a:latin typeface="Arial"/>
              <a:cs typeface="Arial"/>
              <a:sym typeface="Arial"/>
            </a:endParaRPr>
          </a:p>
          <a:p>
            <a:pPr marL="609585" defTabSz="1219170">
              <a:buClr>
                <a:srgbClr val="000000"/>
              </a:buClr>
            </a:pPr>
            <a:endParaRPr sz="2667" kern="0">
              <a:solidFill>
                <a:srgbClr val="004270"/>
              </a:solidFill>
              <a:latin typeface="Arial"/>
              <a:cs typeface="Arial"/>
              <a:sym typeface="Arial"/>
            </a:endParaRPr>
          </a:p>
          <a:p>
            <a:pPr marL="609585" defTabSz="1219170">
              <a:buClr>
                <a:srgbClr val="000000"/>
              </a:buClr>
            </a:pPr>
            <a:r>
              <a:rPr lang="en" sz="2667" kern="0">
                <a:solidFill>
                  <a:srgbClr val="004270"/>
                </a:solidFill>
                <a:latin typeface="Arial"/>
                <a:cs typeface="Arial"/>
                <a:sym typeface="Arial"/>
              </a:rPr>
              <a:t>This will support the college to move forward to:</a:t>
            </a:r>
            <a:endParaRPr sz="2667" kern="0">
              <a:solidFill>
                <a:srgbClr val="004270"/>
              </a:solidFill>
              <a:latin typeface="Arial"/>
              <a:cs typeface="Arial"/>
              <a:sym typeface="Arial"/>
            </a:endParaRPr>
          </a:p>
          <a:p>
            <a:pPr marL="1219170" indent="-474121" defTabSz="1219170">
              <a:buClr>
                <a:srgbClr val="004270"/>
              </a:buClr>
              <a:buSzPts val="2000"/>
              <a:buFont typeface="Arial"/>
              <a:buChar char="●"/>
            </a:pPr>
            <a:r>
              <a:rPr lang="en" sz="2667" kern="0">
                <a:solidFill>
                  <a:srgbClr val="004270"/>
                </a:solidFill>
                <a:latin typeface="Arial"/>
                <a:cs typeface="Arial"/>
                <a:sym typeface="Arial"/>
              </a:rPr>
              <a:t>Create a cultural center on campus</a:t>
            </a:r>
            <a:endParaRPr sz="2667" kern="0">
              <a:solidFill>
                <a:srgbClr val="004270"/>
              </a:solidFill>
              <a:latin typeface="Arial"/>
              <a:cs typeface="Arial"/>
              <a:sym typeface="Arial"/>
            </a:endParaRPr>
          </a:p>
          <a:p>
            <a:pPr marL="1219170" indent="-474121" defTabSz="1219170">
              <a:buClr>
                <a:srgbClr val="004270"/>
              </a:buClr>
              <a:buSzPts val="2000"/>
              <a:buFont typeface="Arial"/>
              <a:buChar char="●"/>
            </a:pPr>
            <a:r>
              <a:rPr lang="en" sz="2667" kern="0">
                <a:solidFill>
                  <a:srgbClr val="004270"/>
                </a:solidFill>
                <a:latin typeface="Arial"/>
                <a:cs typeface="Arial"/>
                <a:sym typeface="Arial"/>
              </a:rPr>
              <a:t>Be more supportive of racial and ethnic groups represented in the community </a:t>
            </a:r>
            <a:endParaRPr sz="2667" kern="0">
              <a:solidFill>
                <a:srgbClr val="004270"/>
              </a:solidFill>
              <a:latin typeface="Arial"/>
              <a:cs typeface="Arial"/>
              <a:sym typeface="Arial"/>
            </a:endParaRPr>
          </a:p>
          <a:p>
            <a:pPr marL="1219170" indent="-474121" defTabSz="1219170">
              <a:buClr>
                <a:srgbClr val="004270"/>
              </a:buClr>
              <a:buSzPts val="2000"/>
              <a:buFont typeface="Arial"/>
              <a:buChar char="●"/>
            </a:pPr>
            <a:r>
              <a:rPr lang="en" sz="2667" kern="0">
                <a:solidFill>
                  <a:srgbClr val="004270"/>
                </a:solidFill>
                <a:latin typeface="Arial"/>
                <a:cs typeface="Arial"/>
                <a:sym typeface="Arial"/>
              </a:rPr>
              <a:t>Be more intentional in the anti-racist work at the college </a:t>
            </a:r>
            <a:endParaRPr sz="2667" kern="0">
              <a:solidFill>
                <a:srgbClr val="004270"/>
              </a:solidFill>
              <a:latin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7807967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" name="Google Shape;97;p17" title="Decorative"/>
          <p:cNvSpPr/>
          <p:nvPr/>
        </p:nvSpPr>
        <p:spPr>
          <a:xfrm>
            <a:off x="-2600" y="5754300"/>
            <a:ext cx="12197200" cy="835600"/>
          </a:xfrm>
          <a:prstGeom prst="rect">
            <a:avLst/>
          </a:prstGeom>
          <a:solidFill>
            <a:srgbClr val="004270"/>
          </a:solidFill>
          <a:ln w="9525" cap="flat" cmpd="sng">
            <a:solidFill>
              <a:srgbClr val="004270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defTabSz="1219170">
              <a:buClr>
                <a:srgbClr val="000000"/>
              </a:buClr>
            </a:pPr>
            <a:endParaRPr sz="1867" kern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98" name="Google Shape;98;p17"/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wrap="square" lIns="121900" tIns="121900" rIns="121900" bIns="121900" anchor="t" anchorCtr="0">
            <a:noAutofit/>
          </a:bodyPr>
          <a:lstStyle/>
          <a:p>
            <a:r>
              <a:rPr lang="en" sz="4000">
                <a:solidFill>
                  <a:srgbClr val="004270"/>
                </a:solidFill>
              </a:rPr>
              <a:t>Focus Groups</a:t>
            </a:r>
            <a:endParaRPr sz="4000">
              <a:solidFill>
                <a:srgbClr val="004270"/>
              </a:solidFill>
            </a:endParaRPr>
          </a:p>
        </p:txBody>
      </p:sp>
      <p:sp>
        <p:nvSpPr>
          <p:cNvPr id="99" name="Google Shape;99;p17" title="Decorative"/>
          <p:cNvSpPr/>
          <p:nvPr/>
        </p:nvSpPr>
        <p:spPr>
          <a:xfrm>
            <a:off x="4033" y="1450484"/>
            <a:ext cx="11577200" cy="83600"/>
          </a:xfrm>
          <a:prstGeom prst="rect">
            <a:avLst/>
          </a:prstGeom>
          <a:solidFill>
            <a:srgbClr val="F6C65B"/>
          </a:solidFill>
          <a:ln w="9525" cap="flat" cmpd="sng">
            <a:solidFill>
              <a:srgbClr val="F6C65B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defTabSz="1219170">
              <a:buClr>
                <a:srgbClr val="000000"/>
              </a:buClr>
            </a:pPr>
            <a:endParaRPr sz="1867" kern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100" name="Google Shape;100;p17" title="Decorative"/>
          <p:cNvSpPr/>
          <p:nvPr/>
        </p:nvSpPr>
        <p:spPr>
          <a:xfrm>
            <a:off x="516533" y="1534100"/>
            <a:ext cx="11691600" cy="65600"/>
          </a:xfrm>
          <a:prstGeom prst="rect">
            <a:avLst/>
          </a:prstGeom>
          <a:solidFill>
            <a:srgbClr val="004270"/>
          </a:solidFill>
          <a:ln w="9525" cap="flat" cmpd="sng">
            <a:solidFill>
              <a:srgbClr val="004270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defTabSz="1219170">
              <a:buClr>
                <a:srgbClr val="000000"/>
              </a:buClr>
            </a:pPr>
            <a:endParaRPr sz="1867" kern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101" name="Google Shape;101;p17"/>
          <p:cNvSpPr txBox="1"/>
          <p:nvPr/>
        </p:nvSpPr>
        <p:spPr>
          <a:xfrm>
            <a:off x="6576900" y="2070968"/>
            <a:ext cx="4619200" cy="147748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spAutoFit/>
          </a:bodyPr>
          <a:lstStyle/>
          <a:p>
            <a:pPr marL="609585" indent="-474121" defTabSz="1219170">
              <a:buClr>
                <a:srgbClr val="004270"/>
              </a:buClr>
              <a:buSzPts val="2000"/>
              <a:buFont typeface="Arial"/>
              <a:buChar char="●"/>
            </a:pPr>
            <a:r>
              <a:rPr lang="en" sz="2667" kern="0">
                <a:solidFill>
                  <a:srgbClr val="004270"/>
                </a:solidFill>
                <a:latin typeface="Arial"/>
                <a:cs typeface="Arial"/>
                <a:sym typeface="Arial"/>
              </a:rPr>
              <a:t>24 students</a:t>
            </a:r>
            <a:endParaRPr sz="2667" kern="0">
              <a:solidFill>
                <a:srgbClr val="004270"/>
              </a:solidFill>
              <a:latin typeface="Arial"/>
              <a:cs typeface="Arial"/>
              <a:sym typeface="Arial"/>
            </a:endParaRPr>
          </a:p>
          <a:p>
            <a:pPr marL="609585" indent="-474121" defTabSz="1219170">
              <a:buClr>
                <a:srgbClr val="004270"/>
              </a:buClr>
              <a:buSzPts val="2000"/>
              <a:buFont typeface="Arial"/>
              <a:buChar char="●"/>
            </a:pPr>
            <a:r>
              <a:rPr lang="en" sz="2667" kern="0">
                <a:solidFill>
                  <a:srgbClr val="004270"/>
                </a:solidFill>
                <a:latin typeface="Arial"/>
                <a:cs typeface="Arial"/>
                <a:sym typeface="Arial"/>
              </a:rPr>
              <a:t>3 faculty</a:t>
            </a:r>
            <a:endParaRPr sz="2667" kern="0">
              <a:solidFill>
                <a:srgbClr val="004270"/>
              </a:solidFill>
              <a:latin typeface="Arial"/>
              <a:cs typeface="Arial"/>
              <a:sym typeface="Arial"/>
            </a:endParaRPr>
          </a:p>
          <a:p>
            <a:pPr marL="609585" indent="-474121" defTabSz="1219170">
              <a:buClr>
                <a:srgbClr val="004270"/>
              </a:buClr>
              <a:buSzPts val="2000"/>
              <a:buFont typeface="Arial"/>
              <a:buChar char="●"/>
            </a:pPr>
            <a:r>
              <a:rPr lang="en" sz="2667" kern="0">
                <a:solidFill>
                  <a:srgbClr val="004270"/>
                </a:solidFill>
                <a:latin typeface="Arial"/>
                <a:cs typeface="Arial"/>
                <a:sym typeface="Arial"/>
              </a:rPr>
              <a:t>10 staff</a:t>
            </a:r>
            <a:endParaRPr sz="2667" kern="0">
              <a:solidFill>
                <a:srgbClr val="00427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102" name="Google Shape;102;p17"/>
          <p:cNvSpPr txBox="1"/>
          <p:nvPr/>
        </p:nvSpPr>
        <p:spPr>
          <a:xfrm>
            <a:off x="832000" y="2070967"/>
            <a:ext cx="5264000" cy="35296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spAutoFit/>
          </a:bodyPr>
          <a:lstStyle/>
          <a:p>
            <a:pPr marL="609585" indent="-474121" defTabSz="1219170">
              <a:buClr>
                <a:srgbClr val="004270"/>
              </a:buClr>
              <a:buSzPts val="2000"/>
              <a:buFont typeface="Arial"/>
              <a:buChar char="●"/>
            </a:pPr>
            <a:r>
              <a:rPr lang="en" sz="2667" kern="0">
                <a:solidFill>
                  <a:srgbClr val="004270"/>
                </a:solidFill>
                <a:latin typeface="Arial"/>
                <a:cs typeface="Arial"/>
                <a:sym typeface="Arial"/>
              </a:rPr>
              <a:t>Hispanic/LatinX</a:t>
            </a:r>
            <a:endParaRPr sz="2667" kern="0">
              <a:solidFill>
                <a:srgbClr val="004270"/>
              </a:solidFill>
              <a:latin typeface="Arial"/>
              <a:cs typeface="Arial"/>
              <a:sym typeface="Arial"/>
            </a:endParaRPr>
          </a:p>
          <a:p>
            <a:pPr marL="609585" indent="-474121" defTabSz="1219170">
              <a:buClr>
                <a:srgbClr val="004270"/>
              </a:buClr>
              <a:buSzPts val="2000"/>
              <a:buFont typeface="Arial"/>
              <a:buChar char="●"/>
            </a:pPr>
            <a:r>
              <a:rPr lang="en" sz="2667" kern="0">
                <a:solidFill>
                  <a:srgbClr val="004270"/>
                </a:solidFill>
                <a:latin typeface="Arial"/>
                <a:cs typeface="Arial"/>
                <a:sym typeface="Arial"/>
              </a:rPr>
              <a:t>Black/African American</a:t>
            </a:r>
            <a:endParaRPr sz="2667" kern="0">
              <a:solidFill>
                <a:srgbClr val="004270"/>
              </a:solidFill>
              <a:latin typeface="Arial"/>
              <a:cs typeface="Arial"/>
              <a:sym typeface="Arial"/>
            </a:endParaRPr>
          </a:p>
          <a:p>
            <a:pPr marL="609585" indent="-474121" defTabSz="1219170">
              <a:buClr>
                <a:srgbClr val="004270"/>
              </a:buClr>
              <a:buSzPts val="2000"/>
              <a:buFont typeface="Arial"/>
              <a:buChar char="●"/>
            </a:pPr>
            <a:r>
              <a:rPr lang="en" sz="2667" kern="0">
                <a:solidFill>
                  <a:srgbClr val="004270"/>
                </a:solidFill>
                <a:latin typeface="Arial"/>
                <a:cs typeface="Arial"/>
                <a:sym typeface="Arial"/>
              </a:rPr>
              <a:t>Asian American/Asian American/Pacific Islander</a:t>
            </a:r>
            <a:endParaRPr sz="2667" kern="0">
              <a:solidFill>
                <a:srgbClr val="004270"/>
              </a:solidFill>
              <a:latin typeface="Arial"/>
              <a:cs typeface="Arial"/>
              <a:sym typeface="Arial"/>
            </a:endParaRPr>
          </a:p>
          <a:p>
            <a:pPr marL="609585" indent="-474121" defTabSz="1219170">
              <a:buClr>
                <a:srgbClr val="004270"/>
              </a:buClr>
              <a:buSzPts val="2000"/>
              <a:buFont typeface="Arial"/>
              <a:buChar char="●"/>
            </a:pPr>
            <a:r>
              <a:rPr lang="en" sz="2667" kern="0">
                <a:solidFill>
                  <a:srgbClr val="004270"/>
                </a:solidFill>
                <a:latin typeface="Arial"/>
                <a:cs typeface="Arial"/>
                <a:sym typeface="Arial"/>
              </a:rPr>
              <a:t>LGBTQI</a:t>
            </a:r>
            <a:endParaRPr sz="2667" kern="0">
              <a:solidFill>
                <a:srgbClr val="004270"/>
              </a:solidFill>
              <a:latin typeface="Arial"/>
              <a:cs typeface="Arial"/>
              <a:sym typeface="Arial"/>
            </a:endParaRPr>
          </a:p>
          <a:p>
            <a:pPr marL="609585" indent="-474121" defTabSz="1219170">
              <a:buClr>
                <a:srgbClr val="004270"/>
              </a:buClr>
              <a:buSzPts val="2000"/>
              <a:buFont typeface="Arial"/>
              <a:buChar char="●"/>
            </a:pPr>
            <a:r>
              <a:rPr lang="en" sz="2667" kern="0">
                <a:solidFill>
                  <a:srgbClr val="004270"/>
                </a:solidFill>
                <a:latin typeface="Arial"/>
                <a:cs typeface="Arial"/>
                <a:sym typeface="Arial"/>
              </a:rPr>
              <a:t>Immigrant/Migrant/  International</a:t>
            </a:r>
            <a:endParaRPr sz="2667" kern="0">
              <a:solidFill>
                <a:srgbClr val="004270"/>
              </a:solidFill>
              <a:latin typeface="Arial"/>
              <a:cs typeface="Arial"/>
              <a:sym typeface="Arial"/>
            </a:endParaRPr>
          </a:p>
          <a:p>
            <a:pPr marL="609585" indent="-474121" defTabSz="1219170">
              <a:buClr>
                <a:srgbClr val="004270"/>
              </a:buClr>
              <a:buSzPts val="2000"/>
              <a:buFont typeface="Arial"/>
              <a:buChar char="●"/>
            </a:pPr>
            <a:r>
              <a:rPr lang="en" sz="2667" kern="0">
                <a:solidFill>
                  <a:srgbClr val="004270"/>
                </a:solidFill>
                <a:latin typeface="Arial"/>
                <a:cs typeface="Arial"/>
                <a:sym typeface="Arial"/>
              </a:rPr>
              <a:t>General/non-specific</a:t>
            </a:r>
            <a:endParaRPr sz="2667" kern="0">
              <a:solidFill>
                <a:srgbClr val="004270"/>
              </a:solidFill>
              <a:latin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2370129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0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7" name="Google Shape;107;p18" title="Decorative"/>
          <p:cNvSpPr/>
          <p:nvPr/>
        </p:nvSpPr>
        <p:spPr>
          <a:xfrm>
            <a:off x="-2600" y="5754300"/>
            <a:ext cx="12197200" cy="835600"/>
          </a:xfrm>
          <a:prstGeom prst="rect">
            <a:avLst/>
          </a:prstGeom>
          <a:solidFill>
            <a:srgbClr val="004270"/>
          </a:solidFill>
          <a:ln w="9525" cap="flat" cmpd="sng">
            <a:solidFill>
              <a:srgbClr val="004270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defTabSz="1219170">
              <a:buClr>
                <a:srgbClr val="000000"/>
              </a:buClr>
            </a:pPr>
            <a:endParaRPr sz="1867" kern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108" name="Google Shape;108;p18"/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wrap="square" lIns="121900" tIns="121900" rIns="121900" bIns="121900" anchor="t" anchorCtr="0">
            <a:noAutofit/>
          </a:bodyPr>
          <a:lstStyle/>
          <a:p>
            <a:r>
              <a:rPr lang="en" sz="4000">
                <a:solidFill>
                  <a:srgbClr val="004270"/>
                </a:solidFill>
              </a:rPr>
              <a:t>Key Findings</a:t>
            </a:r>
            <a:endParaRPr sz="4000">
              <a:solidFill>
                <a:srgbClr val="004270"/>
              </a:solidFill>
            </a:endParaRPr>
          </a:p>
        </p:txBody>
      </p:sp>
      <p:sp>
        <p:nvSpPr>
          <p:cNvPr id="109" name="Google Shape;109;p18" title="Decorative"/>
          <p:cNvSpPr/>
          <p:nvPr/>
        </p:nvSpPr>
        <p:spPr>
          <a:xfrm>
            <a:off x="4033" y="1450484"/>
            <a:ext cx="11577200" cy="83600"/>
          </a:xfrm>
          <a:prstGeom prst="rect">
            <a:avLst/>
          </a:prstGeom>
          <a:solidFill>
            <a:srgbClr val="F6C65B"/>
          </a:solidFill>
          <a:ln w="9525" cap="flat" cmpd="sng">
            <a:solidFill>
              <a:srgbClr val="F6C65B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defTabSz="1219170">
              <a:buClr>
                <a:srgbClr val="000000"/>
              </a:buClr>
            </a:pPr>
            <a:endParaRPr sz="1867" kern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110" name="Google Shape;110;p18" title="Decorative"/>
          <p:cNvSpPr/>
          <p:nvPr/>
        </p:nvSpPr>
        <p:spPr>
          <a:xfrm>
            <a:off x="516533" y="1534100"/>
            <a:ext cx="11691600" cy="65600"/>
          </a:xfrm>
          <a:prstGeom prst="rect">
            <a:avLst/>
          </a:prstGeom>
          <a:solidFill>
            <a:srgbClr val="004270"/>
          </a:solidFill>
          <a:ln w="9525" cap="flat" cmpd="sng">
            <a:solidFill>
              <a:srgbClr val="004270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defTabSz="1219170">
              <a:buClr>
                <a:srgbClr val="000000"/>
              </a:buClr>
            </a:pPr>
            <a:endParaRPr sz="1867" kern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111" name="Google Shape;111;p18"/>
          <p:cNvSpPr txBox="1"/>
          <p:nvPr/>
        </p:nvSpPr>
        <p:spPr>
          <a:xfrm>
            <a:off x="1177933" y="2149833"/>
            <a:ext cx="9584000" cy="281066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spAutoFit/>
          </a:bodyPr>
          <a:lstStyle/>
          <a:p>
            <a:pPr defTabSz="1219170">
              <a:buClr>
                <a:srgbClr val="000000"/>
              </a:buClr>
            </a:pPr>
            <a:r>
              <a:rPr lang="en" sz="3333" b="1" kern="0">
                <a:solidFill>
                  <a:srgbClr val="004270"/>
                </a:solidFill>
                <a:latin typeface="Arial"/>
                <a:cs typeface="Arial"/>
                <a:sym typeface="Arial"/>
              </a:rPr>
              <a:t>Black/African American students, students, faculty, and staff </a:t>
            </a:r>
            <a:endParaRPr sz="3333" b="1" kern="0">
              <a:solidFill>
                <a:srgbClr val="004270"/>
              </a:solidFill>
              <a:latin typeface="Arial"/>
              <a:cs typeface="Arial"/>
              <a:sym typeface="Arial"/>
            </a:endParaRPr>
          </a:p>
          <a:p>
            <a:pPr defTabSz="1219170">
              <a:buClr>
                <a:srgbClr val="000000"/>
              </a:buClr>
            </a:pPr>
            <a:endParaRPr sz="3333" kern="0">
              <a:solidFill>
                <a:srgbClr val="004270"/>
              </a:solidFill>
              <a:latin typeface="Arial"/>
              <a:cs typeface="Arial"/>
              <a:sym typeface="Arial"/>
            </a:endParaRPr>
          </a:p>
          <a:p>
            <a:pPr defTabSz="1219170">
              <a:buClr>
                <a:srgbClr val="000000"/>
              </a:buClr>
            </a:pPr>
            <a:r>
              <a:rPr lang="en" sz="3333" kern="0">
                <a:solidFill>
                  <a:srgbClr val="004270"/>
                </a:solidFill>
                <a:latin typeface="Arial"/>
                <a:cs typeface="Arial"/>
                <a:sym typeface="Arial"/>
              </a:rPr>
              <a:t>Shared feelings of disenfranchisement, lack of community, and lack of representation.  </a:t>
            </a:r>
            <a:endParaRPr sz="3333" kern="0">
              <a:solidFill>
                <a:srgbClr val="004270"/>
              </a:solidFill>
              <a:latin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4150376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6" name="Google Shape;116;p19" title="Decorative"/>
          <p:cNvSpPr/>
          <p:nvPr/>
        </p:nvSpPr>
        <p:spPr>
          <a:xfrm>
            <a:off x="-2600" y="5754300"/>
            <a:ext cx="12197200" cy="835600"/>
          </a:xfrm>
          <a:prstGeom prst="rect">
            <a:avLst/>
          </a:prstGeom>
          <a:solidFill>
            <a:srgbClr val="004270"/>
          </a:solidFill>
          <a:ln w="9525" cap="flat" cmpd="sng">
            <a:solidFill>
              <a:srgbClr val="004270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defTabSz="1219170">
              <a:buClr>
                <a:srgbClr val="000000"/>
              </a:buClr>
            </a:pPr>
            <a:endParaRPr sz="1867" kern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117" name="Google Shape;117;p19"/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wrap="square" lIns="121900" tIns="121900" rIns="121900" bIns="121900" anchor="t" anchorCtr="0">
            <a:noAutofit/>
          </a:bodyPr>
          <a:lstStyle/>
          <a:p>
            <a:r>
              <a:rPr lang="en" sz="4000">
                <a:solidFill>
                  <a:srgbClr val="004270"/>
                </a:solidFill>
              </a:rPr>
              <a:t>Key Findings</a:t>
            </a:r>
            <a:endParaRPr sz="4000">
              <a:solidFill>
                <a:srgbClr val="004270"/>
              </a:solidFill>
            </a:endParaRPr>
          </a:p>
        </p:txBody>
      </p:sp>
      <p:sp>
        <p:nvSpPr>
          <p:cNvPr id="118" name="Google Shape;118;p19" title="Decorative"/>
          <p:cNvSpPr/>
          <p:nvPr/>
        </p:nvSpPr>
        <p:spPr>
          <a:xfrm>
            <a:off x="4033" y="1450484"/>
            <a:ext cx="11577200" cy="83600"/>
          </a:xfrm>
          <a:prstGeom prst="rect">
            <a:avLst/>
          </a:prstGeom>
          <a:solidFill>
            <a:srgbClr val="F6C65B"/>
          </a:solidFill>
          <a:ln w="9525" cap="flat" cmpd="sng">
            <a:solidFill>
              <a:srgbClr val="F6C65B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defTabSz="1219170">
              <a:buClr>
                <a:srgbClr val="000000"/>
              </a:buClr>
            </a:pPr>
            <a:endParaRPr sz="1867" kern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119" name="Google Shape;119;p19" title="Decorative"/>
          <p:cNvSpPr/>
          <p:nvPr/>
        </p:nvSpPr>
        <p:spPr>
          <a:xfrm>
            <a:off x="516533" y="1534100"/>
            <a:ext cx="11691600" cy="65600"/>
          </a:xfrm>
          <a:prstGeom prst="rect">
            <a:avLst/>
          </a:prstGeom>
          <a:solidFill>
            <a:srgbClr val="004270"/>
          </a:solidFill>
          <a:ln w="9525" cap="flat" cmpd="sng">
            <a:solidFill>
              <a:srgbClr val="004270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defTabSz="1219170">
              <a:buClr>
                <a:srgbClr val="000000"/>
              </a:buClr>
            </a:pPr>
            <a:endParaRPr sz="1867" kern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120" name="Google Shape;120;p19"/>
          <p:cNvSpPr txBox="1"/>
          <p:nvPr/>
        </p:nvSpPr>
        <p:spPr>
          <a:xfrm>
            <a:off x="1177933" y="2149834"/>
            <a:ext cx="9584000" cy="281066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spAutoFit/>
          </a:bodyPr>
          <a:lstStyle/>
          <a:p>
            <a:pPr defTabSz="1219170">
              <a:buClr>
                <a:srgbClr val="000000"/>
              </a:buClr>
            </a:pPr>
            <a:r>
              <a:rPr lang="en" sz="3333" b="1" kern="0">
                <a:solidFill>
                  <a:srgbClr val="004270"/>
                </a:solidFill>
                <a:latin typeface="Arial"/>
                <a:cs typeface="Arial"/>
                <a:sym typeface="Arial"/>
              </a:rPr>
              <a:t>Immigrant/Migrant/International</a:t>
            </a:r>
            <a:endParaRPr sz="3333" b="1" kern="0">
              <a:solidFill>
                <a:srgbClr val="004270"/>
              </a:solidFill>
              <a:latin typeface="Arial"/>
              <a:cs typeface="Arial"/>
              <a:sym typeface="Arial"/>
            </a:endParaRPr>
          </a:p>
          <a:p>
            <a:pPr defTabSz="1219170">
              <a:buClr>
                <a:srgbClr val="000000"/>
              </a:buClr>
            </a:pPr>
            <a:endParaRPr sz="3333" kern="0">
              <a:solidFill>
                <a:srgbClr val="004270"/>
              </a:solidFill>
              <a:latin typeface="Arial"/>
              <a:cs typeface="Arial"/>
              <a:sym typeface="Arial"/>
            </a:endParaRPr>
          </a:p>
          <a:p>
            <a:pPr defTabSz="1219170">
              <a:buClr>
                <a:srgbClr val="000000"/>
              </a:buClr>
            </a:pPr>
            <a:r>
              <a:rPr lang="en" sz="3333" kern="0">
                <a:solidFill>
                  <a:srgbClr val="004270"/>
                </a:solidFill>
                <a:latin typeface="Arial"/>
                <a:cs typeface="Arial"/>
                <a:sym typeface="Arial"/>
              </a:rPr>
              <a:t>Shared feelings of exclusion for a lack understanding around events, words, or phrases considered racist. </a:t>
            </a:r>
            <a:endParaRPr sz="3333" kern="0">
              <a:solidFill>
                <a:srgbClr val="004270"/>
              </a:solidFill>
              <a:latin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713387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2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5" name="Google Shape;125;p20" title="Decorative"/>
          <p:cNvSpPr/>
          <p:nvPr/>
        </p:nvSpPr>
        <p:spPr>
          <a:xfrm>
            <a:off x="-2600" y="5754300"/>
            <a:ext cx="12197200" cy="835600"/>
          </a:xfrm>
          <a:prstGeom prst="rect">
            <a:avLst/>
          </a:prstGeom>
          <a:solidFill>
            <a:srgbClr val="004270"/>
          </a:solidFill>
          <a:ln w="9525" cap="flat" cmpd="sng">
            <a:solidFill>
              <a:srgbClr val="004270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defTabSz="1219170">
              <a:buClr>
                <a:srgbClr val="000000"/>
              </a:buClr>
            </a:pPr>
            <a:endParaRPr sz="1867" kern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126" name="Google Shape;126;p20"/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wrap="square" lIns="121900" tIns="121900" rIns="121900" bIns="121900" anchor="t" anchorCtr="0">
            <a:noAutofit/>
          </a:bodyPr>
          <a:lstStyle/>
          <a:p>
            <a:r>
              <a:rPr lang="en" sz="4000">
                <a:solidFill>
                  <a:srgbClr val="004270"/>
                </a:solidFill>
              </a:rPr>
              <a:t>Key Findings</a:t>
            </a:r>
            <a:endParaRPr sz="4000">
              <a:solidFill>
                <a:srgbClr val="004270"/>
              </a:solidFill>
            </a:endParaRPr>
          </a:p>
        </p:txBody>
      </p:sp>
      <p:sp>
        <p:nvSpPr>
          <p:cNvPr id="127" name="Google Shape;127;p20" title="Decorative"/>
          <p:cNvSpPr/>
          <p:nvPr/>
        </p:nvSpPr>
        <p:spPr>
          <a:xfrm>
            <a:off x="4033" y="1450484"/>
            <a:ext cx="11577200" cy="83600"/>
          </a:xfrm>
          <a:prstGeom prst="rect">
            <a:avLst/>
          </a:prstGeom>
          <a:solidFill>
            <a:srgbClr val="F6C65B"/>
          </a:solidFill>
          <a:ln w="9525" cap="flat" cmpd="sng">
            <a:solidFill>
              <a:srgbClr val="F6C65B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defTabSz="1219170">
              <a:buClr>
                <a:srgbClr val="000000"/>
              </a:buClr>
            </a:pPr>
            <a:endParaRPr sz="1867" kern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128" name="Google Shape;128;p20" title="Decorative"/>
          <p:cNvSpPr/>
          <p:nvPr/>
        </p:nvSpPr>
        <p:spPr>
          <a:xfrm>
            <a:off x="516533" y="1534100"/>
            <a:ext cx="11691600" cy="65600"/>
          </a:xfrm>
          <a:prstGeom prst="rect">
            <a:avLst/>
          </a:prstGeom>
          <a:solidFill>
            <a:srgbClr val="004270"/>
          </a:solidFill>
          <a:ln w="9525" cap="flat" cmpd="sng">
            <a:solidFill>
              <a:srgbClr val="004270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defTabSz="1219170">
              <a:buClr>
                <a:srgbClr val="000000"/>
              </a:buClr>
            </a:pPr>
            <a:endParaRPr sz="1867" kern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129" name="Google Shape;129;p20"/>
          <p:cNvSpPr txBox="1"/>
          <p:nvPr/>
        </p:nvSpPr>
        <p:spPr>
          <a:xfrm>
            <a:off x="1177933" y="2149834"/>
            <a:ext cx="9584000" cy="281066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spAutoFit/>
          </a:bodyPr>
          <a:lstStyle/>
          <a:p>
            <a:pPr defTabSz="1219170">
              <a:buClr>
                <a:srgbClr val="000000"/>
              </a:buClr>
            </a:pPr>
            <a:r>
              <a:rPr lang="en" sz="3333" b="1" kern="0">
                <a:solidFill>
                  <a:srgbClr val="004270"/>
                </a:solidFill>
                <a:latin typeface="Arial"/>
                <a:cs typeface="Arial"/>
                <a:sym typeface="Arial"/>
              </a:rPr>
              <a:t>Hispanic/LatinX</a:t>
            </a:r>
            <a:endParaRPr sz="3333" b="1" kern="0">
              <a:solidFill>
                <a:srgbClr val="004270"/>
              </a:solidFill>
              <a:latin typeface="Arial"/>
              <a:cs typeface="Arial"/>
              <a:sym typeface="Arial"/>
            </a:endParaRPr>
          </a:p>
          <a:p>
            <a:pPr defTabSz="1219170">
              <a:buClr>
                <a:srgbClr val="000000"/>
              </a:buClr>
            </a:pPr>
            <a:endParaRPr sz="3333" kern="0">
              <a:solidFill>
                <a:srgbClr val="004270"/>
              </a:solidFill>
              <a:latin typeface="Arial"/>
              <a:cs typeface="Arial"/>
              <a:sym typeface="Arial"/>
            </a:endParaRPr>
          </a:p>
          <a:p>
            <a:pPr defTabSz="1219170">
              <a:buClr>
                <a:srgbClr val="000000"/>
              </a:buClr>
            </a:pPr>
            <a:r>
              <a:rPr lang="en" sz="3333" kern="0">
                <a:solidFill>
                  <a:srgbClr val="004270"/>
                </a:solidFill>
                <a:latin typeface="Arial"/>
                <a:cs typeface="Arial"/>
                <a:sym typeface="Arial"/>
              </a:rPr>
              <a:t>Expressed a need to develop cultural competency in the college community around mixed race and intersectional identities</a:t>
            </a:r>
            <a:endParaRPr sz="3333" kern="0">
              <a:solidFill>
                <a:srgbClr val="004270"/>
              </a:solidFill>
              <a:latin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8218029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4" name="Google Shape;134;p21" title="Decorative"/>
          <p:cNvSpPr/>
          <p:nvPr/>
        </p:nvSpPr>
        <p:spPr>
          <a:xfrm>
            <a:off x="-2600" y="5754300"/>
            <a:ext cx="12197200" cy="835600"/>
          </a:xfrm>
          <a:prstGeom prst="rect">
            <a:avLst/>
          </a:prstGeom>
          <a:solidFill>
            <a:srgbClr val="004270"/>
          </a:solidFill>
          <a:ln w="9525" cap="flat" cmpd="sng">
            <a:solidFill>
              <a:srgbClr val="004270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defTabSz="1219170">
              <a:buClr>
                <a:srgbClr val="000000"/>
              </a:buClr>
            </a:pPr>
            <a:endParaRPr sz="1867" kern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135" name="Google Shape;135;p21"/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wrap="square" lIns="121900" tIns="121900" rIns="121900" bIns="121900" anchor="t" anchorCtr="0">
            <a:noAutofit/>
          </a:bodyPr>
          <a:lstStyle/>
          <a:p>
            <a:r>
              <a:rPr lang="en" sz="4000">
                <a:solidFill>
                  <a:srgbClr val="004270"/>
                </a:solidFill>
              </a:rPr>
              <a:t>Key Findings</a:t>
            </a:r>
            <a:endParaRPr sz="4000">
              <a:solidFill>
                <a:srgbClr val="004270"/>
              </a:solidFill>
            </a:endParaRPr>
          </a:p>
        </p:txBody>
      </p:sp>
      <p:sp>
        <p:nvSpPr>
          <p:cNvPr id="136" name="Google Shape;136;p21" title="Decorative"/>
          <p:cNvSpPr/>
          <p:nvPr/>
        </p:nvSpPr>
        <p:spPr>
          <a:xfrm>
            <a:off x="4033" y="1450484"/>
            <a:ext cx="11577200" cy="83600"/>
          </a:xfrm>
          <a:prstGeom prst="rect">
            <a:avLst/>
          </a:prstGeom>
          <a:solidFill>
            <a:srgbClr val="F6C65B"/>
          </a:solidFill>
          <a:ln w="9525" cap="flat" cmpd="sng">
            <a:solidFill>
              <a:srgbClr val="F6C65B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defTabSz="1219170">
              <a:buClr>
                <a:srgbClr val="000000"/>
              </a:buClr>
            </a:pPr>
            <a:endParaRPr sz="1867" kern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137" name="Google Shape;137;p21" title="Decorative"/>
          <p:cNvSpPr/>
          <p:nvPr/>
        </p:nvSpPr>
        <p:spPr>
          <a:xfrm>
            <a:off x="516533" y="1534100"/>
            <a:ext cx="11691600" cy="65600"/>
          </a:xfrm>
          <a:prstGeom prst="rect">
            <a:avLst/>
          </a:prstGeom>
          <a:solidFill>
            <a:srgbClr val="004270"/>
          </a:solidFill>
          <a:ln w="9525" cap="flat" cmpd="sng">
            <a:solidFill>
              <a:srgbClr val="004270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defTabSz="1219170">
              <a:buClr>
                <a:srgbClr val="000000"/>
              </a:buClr>
            </a:pPr>
            <a:endParaRPr sz="1867" kern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138" name="Google Shape;138;p21"/>
          <p:cNvSpPr txBox="1"/>
          <p:nvPr/>
        </p:nvSpPr>
        <p:spPr>
          <a:xfrm>
            <a:off x="1177933" y="2149833"/>
            <a:ext cx="9584000" cy="33235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spAutoFit/>
          </a:bodyPr>
          <a:lstStyle/>
          <a:p>
            <a:pPr defTabSz="1219170">
              <a:buClr>
                <a:srgbClr val="000000"/>
              </a:buClr>
            </a:pPr>
            <a:r>
              <a:rPr lang="en" sz="3333" b="1" kern="0">
                <a:solidFill>
                  <a:srgbClr val="004270"/>
                </a:solidFill>
                <a:latin typeface="Arial"/>
                <a:cs typeface="Arial"/>
                <a:sym typeface="Arial"/>
              </a:rPr>
              <a:t>Asian American, Native American, and Pacific Islander</a:t>
            </a:r>
            <a:endParaRPr sz="3333" b="1" kern="0">
              <a:solidFill>
                <a:srgbClr val="004270"/>
              </a:solidFill>
              <a:latin typeface="Arial"/>
              <a:cs typeface="Arial"/>
              <a:sym typeface="Arial"/>
            </a:endParaRPr>
          </a:p>
          <a:p>
            <a:pPr defTabSz="1219170">
              <a:buClr>
                <a:srgbClr val="000000"/>
              </a:buClr>
            </a:pPr>
            <a:endParaRPr sz="3333" kern="0">
              <a:solidFill>
                <a:srgbClr val="004270"/>
              </a:solidFill>
              <a:latin typeface="Arial"/>
              <a:cs typeface="Arial"/>
              <a:sym typeface="Arial"/>
            </a:endParaRPr>
          </a:p>
          <a:p>
            <a:pPr defTabSz="1219170">
              <a:buClr>
                <a:srgbClr val="000000"/>
              </a:buClr>
            </a:pPr>
            <a:r>
              <a:rPr lang="en" sz="3333" kern="0">
                <a:solidFill>
                  <a:srgbClr val="004270"/>
                </a:solidFill>
                <a:latin typeface="Arial"/>
                <a:cs typeface="Arial"/>
                <a:sym typeface="Arial"/>
              </a:rPr>
              <a:t>Expressed concern that their culture is overshadowed, especially Native American culture, by those with larger representation</a:t>
            </a:r>
            <a:endParaRPr sz="3333" kern="0">
              <a:solidFill>
                <a:srgbClr val="004270"/>
              </a:solidFill>
              <a:latin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5583957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4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" name="Google Shape;143;p22" title="Decorative"/>
          <p:cNvSpPr/>
          <p:nvPr/>
        </p:nvSpPr>
        <p:spPr>
          <a:xfrm>
            <a:off x="0" y="1995995"/>
            <a:ext cx="12192000" cy="65600"/>
          </a:xfrm>
          <a:prstGeom prst="rect">
            <a:avLst/>
          </a:prstGeom>
          <a:solidFill>
            <a:srgbClr val="F6C65B"/>
          </a:solidFill>
          <a:ln w="9525" cap="flat" cmpd="sng">
            <a:solidFill>
              <a:srgbClr val="F6C65B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defTabSz="1219170">
              <a:buClr>
                <a:srgbClr val="000000"/>
              </a:buClr>
            </a:pPr>
            <a:endParaRPr sz="1867" kern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144" name="Google Shape;144;p22" title="Decorative"/>
          <p:cNvSpPr/>
          <p:nvPr/>
        </p:nvSpPr>
        <p:spPr>
          <a:xfrm>
            <a:off x="-2600" y="393200"/>
            <a:ext cx="12197200" cy="1602800"/>
          </a:xfrm>
          <a:prstGeom prst="rect">
            <a:avLst/>
          </a:prstGeom>
          <a:solidFill>
            <a:srgbClr val="004270"/>
          </a:solidFill>
          <a:ln w="9525" cap="flat" cmpd="sng">
            <a:solidFill>
              <a:srgbClr val="004270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defTabSz="1219170">
              <a:buClr>
                <a:srgbClr val="000000"/>
              </a:buClr>
            </a:pPr>
            <a:endParaRPr sz="1867" kern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145" name="Google Shape;145;p22"/>
          <p:cNvSpPr txBox="1">
            <a:spLocks noGrp="1"/>
          </p:cNvSpPr>
          <p:nvPr>
            <p:ph type="title"/>
          </p:nvPr>
        </p:nvSpPr>
        <p:spPr>
          <a:xfrm>
            <a:off x="415600" y="796567"/>
            <a:ext cx="11360800" cy="763600"/>
          </a:xfrm>
          <a:prstGeom prst="rect">
            <a:avLst/>
          </a:prstGeom>
        </p:spPr>
        <p:txBody>
          <a:bodyPr spcFirstLastPara="1" wrap="square" lIns="121900" tIns="121900" rIns="121900" bIns="121900" anchor="t" anchorCtr="0">
            <a:noAutofit/>
          </a:bodyPr>
          <a:lstStyle/>
          <a:p>
            <a:r>
              <a:rPr lang="en" sz="4000">
                <a:solidFill>
                  <a:schemeClr val="lt1"/>
                </a:solidFill>
              </a:rPr>
              <a:t>Recommendations for the Cultural Center</a:t>
            </a:r>
            <a:endParaRPr sz="4000">
              <a:solidFill>
                <a:schemeClr val="lt1"/>
              </a:solidFill>
            </a:endParaRPr>
          </a:p>
        </p:txBody>
      </p:sp>
      <p:sp>
        <p:nvSpPr>
          <p:cNvPr id="146" name="Google Shape;146;p22"/>
          <p:cNvSpPr txBox="1">
            <a:spLocks noGrp="1"/>
          </p:cNvSpPr>
          <p:nvPr>
            <p:ph type="body" idx="1"/>
          </p:nvPr>
        </p:nvSpPr>
        <p:spPr>
          <a:xfrm>
            <a:off x="212400" y="2146233"/>
            <a:ext cx="11687600" cy="4711600"/>
          </a:xfrm>
          <a:prstGeom prst="rect">
            <a:avLst/>
          </a:prstGeom>
        </p:spPr>
        <p:txBody>
          <a:bodyPr spcFirstLastPara="1" wrap="square" lIns="121900" tIns="121900" rIns="121900" bIns="121900" anchor="t" anchorCtr="0">
            <a:normAutofit/>
          </a:bodyPr>
          <a:lstStyle/>
          <a:p>
            <a:pPr indent="-482588">
              <a:buClr>
                <a:srgbClr val="004270"/>
              </a:buClr>
              <a:buSzPts val="2100"/>
              <a:buAutoNum type="arabicPeriod"/>
            </a:pPr>
            <a:r>
              <a:rPr lang="en" sz="2800">
                <a:solidFill>
                  <a:srgbClr val="004270"/>
                </a:solidFill>
              </a:rPr>
              <a:t>Dedicate resources to support the Black/African American community</a:t>
            </a:r>
            <a:endParaRPr sz="2800">
              <a:solidFill>
                <a:srgbClr val="004270"/>
              </a:solidFill>
            </a:endParaRPr>
          </a:p>
          <a:p>
            <a:pPr indent="-482588">
              <a:spcBef>
                <a:spcPts val="1333"/>
              </a:spcBef>
              <a:buClr>
                <a:srgbClr val="004270"/>
              </a:buClr>
              <a:buSzPts val="2100"/>
              <a:buAutoNum type="arabicPeriod"/>
            </a:pPr>
            <a:r>
              <a:rPr lang="en" sz="2800">
                <a:solidFill>
                  <a:srgbClr val="004270"/>
                </a:solidFill>
              </a:rPr>
              <a:t>Plan programming, speakers, and events that address issues of racial bias and racial discrimination</a:t>
            </a:r>
            <a:endParaRPr sz="2800">
              <a:solidFill>
                <a:srgbClr val="004270"/>
              </a:solidFill>
            </a:endParaRPr>
          </a:p>
          <a:p>
            <a:pPr indent="-482588">
              <a:spcBef>
                <a:spcPts val="1333"/>
              </a:spcBef>
              <a:buClr>
                <a:srgbClr val="004270"/>
              </a:buClr>
              <a:buSzPts val="2100"/>
              <a:buAutoNum type="arabicPeriod"/>
            </a:pPr>
            <a:r>
              <a:rPr lang="en" sz="2800">
                <a:solidFill>
                  <a:srgbClr val="004270"/>
                </a:solidFill>
              </a:rPr>
              <a:t>Hire and train a diverse team of student ambassadors and mentors</a:t>
            </a:r>
            <a:endParaRPr sz="2800">
              <a:solidFill>
                <a:srgbClr val="004270"/>
              </a:solidFill>
            </a:endParaRPr>
          </a:p>
          <a:p>
            <a:pPr indent="-482588">
              <a:spcBef>
                <a:spcPts val="1333"/>
              </a:spcBef>
              <a:spcAft>
                <a:spcPts val="1333"/>
              </a:spcAft>
              <a:buClr>
                <a:srgbClr val="004270"/>
              </a:buClr>
              <a:buSzPts val="2100"/>
              <a:buAutoNum type="arabicPeriod"/>
            </a:pPr>
            <a:r>
              <a:rPr lang="en" sz="2800">
                <a:solidFill>
                  <a:srgbClr val="004270"/>
                </a:solidFill>
              </a:rPr>
              <a:t>Hire dedicated staff to make the cultural center a warm and welcoming place on campus</a:t>
            </a:r>
            <a:endParaRPr sz="2800">
              <a:solidFill>
                <a:srgbClr val="00427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676845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5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1" name="Google Shape;151;p23" title="Decorative"/>
          <p:cNvSpPr/>
          <p:nvPr/>
        </p:nvSpPr>
        <p:spPr>
          <a:xfrm>
            <a:off x="0" y="1995995"/>
            <a:ext cx="12192000" cy="65600"/>
          </a:xfrm>
          <a:prstGeom prst="rect">
            <a:avLst/>
          </a:prstGeom>
          <a:solidFill>
            <a:srgbClr val="F6C65B"/>
          </a:solidFill>
          <a:ln w="9525" cap="flat" cmpd="sng">
            <a:solidFill>
              <a:srgbClr val="F6C65B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defTabSz="1219170">
              <a:buClr>
                <a:srgbClr val="000000"/>
              </a:buClr>
            </a:pPr>
            <a:endParaRPr sz="1867" kern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152" name="Google Shape;152;p23" title="Decorative"/>
          <p:cNvSpPr/>
          <p:nvPr/>
        </p:nvSpPr>
        <p:spPr>
          <a:xfrm>
            <a:off x="-2600" y="393200"/>
            <a:ext cx="12197200" cy="1602800"/>
          </a:xfrm>
          <a:prstGeom prst="rect">
            <a:avLst/>
          </a:prstGeom>
          <a:solidFill>
            <a:srgbClr val="004270"/>
          </a:solidFill>
          <a:ln w="9525" cap="flat" cmpd="sng">
            <a:solidFill>
              <a:srgbClr val="004270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defTabSz="1219170">
              <a:buClr>
                <a:srgbClr val="000000"/>
              </a:buClr>
            </a:pPr>
            <a:endParaRPr sz="1867" kern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153" name="Google Shape;153;p23"/>
          <p:cNvSpPr txBox="1">
            <a:spLocks noGrp="1"/>
          </p:cNvSpPr>
          <p:nvPr>
            <p:ph type="title"/>
          </p:nvPr>
        </p:nvSpPr>
        <p:spPr>
          <a:xfrm>
            <a:off x="415600" y="796567"/>
            <a:ext cx="11360800" cy="763600"/>
          </a:xfrm>
          <a:prstGeom prst="rect">
            <a:avLst/>
          </a:prstGeom>
        </p:spPr>
        <p:txBody>
          <a:bodyPr spcFirstLastPara="1" wrap="square" lIns="121900" tIns="121900" rIns="121900" bIns="121900" anchor="t" anchorCtr="0">
            <a:noAutofit/>
          </a:bodyPr>
          <a:lstStyle/>
          <a:p>
            <a:r>
              <a:rPr lang="en" sz="4000">
                <a:solidFill>
                  <a:schemeClr val="lt1"/>
                </a:solidFill>
              </a:rPr>
              <a:t>Recommendations for the Cultural Center</a:t>
            </a:r>
            <a:endParaRPr sz="4000">
              <a:solidFill>
                <a:schemeClr val="lt1"/>
              </a:solidFill>
            </a:endParaRPr>
          </a:p>
        </p:txBody>
      </p:sp>
      <p:sp>
        <p:nvSpPr>
          <p:cNvPr id="154" name="Google Shape;154;p23"/>
          <p:cNvSpPr txBox="1">
            <a:spLocks noGrp="1"/>
          </p:cNvSpPr>
          <p:nvPr>
            <p:ph type="body" idx="1"/>
          </p:nvPr>
        </p:nvSpPr>
        <p:spPr>
          <a:xfrm>
            <a:off x="212400" y="2146233"/>
            <a:ext cx="11687600" cy="4711600"/>
          </a:xfrm>
          <a:prstGeom prst="rect">
            <a:avLst/>
          </a:prstGeom>
        </p:spPr>
        <p:txBody>
          <a:bodyPr spcFirstLastPara="1" wrap="square" lIns="121900" tIns="121900" rIns="121900" bIns="121900" anchor="t" anchorCtr="0">
            <a:normAutofit/>
          </a:bodyPr>
          <a:lstStyle/>
          <a:p>
            <a:pPr indent="-482588">
              <a:buClr>
                <a:srgbClr val="004270"/>
              </a:buClr>
              <a:buSzPts val="2100"/>
              <a:buAutoNum type="arabicPeriod" startAt="5"/>
            </a:pPr>
            <a:r>
              <a:rPr lang="en" sz="2800">
                <a:solidFill>
                  <a:srgbClr val="004270"/>
                </a:solidFill>
              </a:rPr>
              <a:t>Provide all staff with diversity and inclusion training the equips them to manage situations where anti-blackness and microaggressions occur.</a:t>
            </a:r>
            <a:endParaRPr sz="2800">
              <a:solidFill>
                <a:srgbClr val="004270"/>
              </a:solidFill>
            </a:endParaRPr>
          </a:p>
          <a:p>
            <a:pPr indent="-482588">
              <a:buClr>
                <a:srgbClr val="004270"/>
              </a:buClr>
              <a:buSzPts val="2100"/>
              <a:buAutoNum type="arabicPeriod" startAt="5"/>
            </a:pPr>
            <a:r>
              <a:rPr lang="en" sz="2800">
                <a:solidFill>
                  <a:srgbClr val="004270"/>
                </a:solidFill>
              </a:rPr>
              <a:t>Leverage the cultural center as a place to develop student leaders.</a:t>
            </a:r>
            <a:endParaRPr sz="2800">
              <a:solidFill>
                <a:srgbClr val="004270"/>
              </a:solidFill>
            </a:endParaRPr>
          </a:p>
          <a:p>
            <a:pPr indent="-482588">
              <a:buClr>
                <a:srgbClr val="004270"/>
              </a:buClr>
              <a:buSzPts val="2100"/>
              <a:buAutoNum type="arabicPeriod" startAt="5"/>
            </a:pPr>
            <a:r>
              <a:rPr lang="en" sz="2800">
                <a:solidFill>
                  <a:srgbClr val="004270"/>
                </a:solidFill>
              </a:rPr>
              <a:t>Gather more input and feedback on the visual representations of cultures for the cultural center and campus.</a:t>
            </a:r>
            <a:endParaRPr sz="2800">
              <a:solidFill>
                <a:srgbClr val="004270"/>
              </a:solidFill>
            </a:endParaRPr>
          </a:p>
          <a:p>
            <a:pPr indent="-482588">
              <a:buClr>
                <a:srgbClr val="004270"/>
              </a:buClr>
              <a:buSzPts val="2100"/>
              <a:buAutoNum type="arabicPeriod" startAt="5"/>
            </a:pPr>
            <a:r>
              <a:rPr lang="en" sz="2800">
                <a:solidFill>
                  <a:srgbClr val="004270"/>
                </a:solidFill>
              </a:rPr>
              <a:t>With a cross-functional and racially diverse team of students, faculty, and staff, explore cultural centers at other colleges to gather ideas about aesthetic, programming, values, and management.</a:t>
            </a:r>
            <a:endParaRPr sz="2800">
              <a:solidFill>
                <a:srgbClr val="00427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411919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9" name="Google Shape;159;p24" title="Decorative"/>
          <p:cNvSpPr/>
          <p:nvPr/>
        </p:nvSpPr>
        <p:spPr>
          <a:xfrm>
            <a:off x="0" y="1995995"/>
            <a:ext cx="12192000" cy="65600"/>
          </a:xfrm>
          <a:prstGeom prst="rect">
            <a:avLst/>
          </a:prstGeom>
          <a:solidFill>
            <a:srgbClr val="F6C65B"/>
          </a:solidFill>
          <a:ln w="9525" cap="flat" cmpd="sng">
            <a:solidFill>
              <a:srgbClr val="F6C65B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defTabSz="1219170">
              <a:buClr>
                <a:srgbClr val="000000"/>
              </a:buClr>
            </a:pPr>
            <a:endParaRPr sz="1867" kern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160" name="Google Shape;160;p24" title="Decorative"/>
          <p:cNvSpPr/>
          <p:nvPr/>
        </p:nvSpPr>
        <p:spPr>
          <a:xfrm>
            <a:off x="-2600" y="393200"/>
            <a:ext cx="12197200" cy="1602800"/>
          </a:xfrm>
          <a:prstGeom prst="rect">
            <a:avLst/>
          </a:prstGeom>
          <a:solidFill>
            <a:srgbClr val="004270"/>
          </a:solidFill>
          <a:ln w="9525" cap="flat" cmpd="sng">
            <a:solidFill>
              <a:srgbClr val="004270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defTabSz="1219170">
              <a:buClr>
                <a:srgbClr val="000000"/>
              </a:buClr>
            </a:pPr>
            <a:endParaRPr sz="1867" kern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161" name="Google Shape;161;p24"/>
          <p:cNvSpPr txBox="1">
            <a:spLocks noGrp="1"/>
          </p:cNvSpPr>
          <p:nvPr>
            <p:ph type="title"/>
          </p:nvPr>
        </p:nvSpPr>
        <p:spPr>
          <a:xfrm>
            <a:off x="415600" y="796567"/>
            <a:ext cx="11360800" cy="763600"/>
          </a:xfrm>
          <a:prstGeom prst="rect">
            <a:avLst/>
          </a:prstGeom>
        </p:spPr>
        <p:txBody>
          <a:bodyPr spcFirstLastPara="1" wrap="square" lIns="121900" tIns="121900" rIns="121900" bIns="121900" anchor="t" anchorCtr="0">
            <a:noAutofit/>
          </a:bodyPr>
          <a:lstStyle/>
          <a:p>
            <a:r>
              <a:rPr lang="en" sz="4000">
                <a:solidFill>
                  <a:schemeClr val="lt1"/>
                </a:solidFill>
              </a:rPr>
              <a:t>General Recommendations</a:t>
            </a:r>
            <a:endParaRPr sz="4000">
              <a:solidFill>
                <a:schemeClr val="lt1"/>
              </a:solidFill>
            </a:endParaRPr>
          </a:p>
        </p:txBody>
      </p:sp>
      <p:sp>
        <p:nvSpPr>
          <p:cNvPr id="162" name="Google Shape;162;p24"/>
          <p:cNvSpPr txBox="1">
            <a:spLocks noGrp="1"/>
          </p:cNvSpPr>
          <p:nvPr>
            <p:ph type="body" idx="1"/>
          </p:nvPr>
        </p:nvSpPr>
        <p:spPr>
          <a:xfrm>
            <a:off x="212400" y="2146233"/>
            <a:ext cx="11687600" cy="4711600"/>
          </a:xfrm>
          <a:prstGeom prst="rect">
            <a:avLst/>
          </a:prstGeom>
        </p:spPr>
        <p:txBody>
          <a:bodyPr spcFirstLastPara="1" wrap="square" lIns="121900" tIns="121900" rIns="121900" bIns="121900" anchor="t" anchorCtr="0">
            <a:normAutofit/>
          </a:bodyPr>
          <a:lstStyle/>
          <a:p>
            <a:pPr indent="-482588">
              <a:buClr>
                <a:srgbClr val="004270"/>
              </a:buClr>
              <a:buSzPts val="2100"/>
              <a:buAutoNum type="arabicPeriod"/>
            </a:pPr>
            <a:r>
              <a:rPr lang="en" sz="2800">
                <a:solidFill>
                  <a:srgbClr val="004270"/>
                </a:solidFill>
              </a:rPr>
              <a:t>Explore ways to make the college campus more visually welcoming and inviting to the diverse community through murals and activities that represent and appreciate the cultures of the student body.</a:t>
            </a:r>
            <a:endParaRPr sz="2800">
              <a:solidFill>
                <a:srgbClr val="004270"/>
              </a:solidFill>
            </a:endParaRPr>
          </a:p>
          <a:p>
            <a:pPr indent="-482588">
              <a:spcBef>
                <a:spcPts val="1333"/>
              </a:spcBef>
              <a:buClr>
                <a:srgbClr val="004270"/>
              </a:buClr>
              <a:buSzPts val="2100"/>
              <a:buAutoNum type="arabicPeriod"/>
            </a:pPr>
            <a:r>
              <a:rPr lang="en" sz="2800">
                <a:solidFill>
                  <a:srgbClr val="004270"/>
                </a:solidFill>
              </a:rPr>
              <a:t>Dedicate resources for faculty professional development on supporting diverse students in the classroom.</a:t>
            </a:r>
            <a:endParaRPr sz="2800">
              <a:solidFill>
                <a:srgbClr val="004270"/>
              </a:solidFill>
            </a:endParaRPr>
          </a:p>
          <a:p>
            <a:pPr indent="-482588">
              <a:spcBef>
                <a:spcPts val="1333"/>
              </a:spcBef>
              <a:spcAft>
                <a:spcPts val="1333"/>
              </a:spcAft>
              <a:buClr>
                <a:srgbClr val="004270"/>
              </a:buClr>
              <a:buSzPts val="2100"/>
              <a:buAutoNum type="arabicPeriod"/>
            </a:pPr>
            <a:r>
              <a:rPr lang="en" sz="2800">
                <a:solidFill>
                  <a:srgbClr val="004270"/>
                </a:solidFill>
              </a:rPr>
              <a:t>Explore ways to revise faculty and staff hiring practices that recognize both traditional and nontraditional experiences and qualifications to ensure a diverse pool of faculty and staff applicants.</a:t>
            </a:r>
            <a:endParaRPr sz="2800">
              <a:solidFill>
                <a:srgbClr val="00427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046739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6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7" name="Google Shape;167;p25" title="Decorative"/>
          <p:cNvSpPr/>
          <p:nvPr/>
        </p:nvSpPr>
        <p:spPr>
          <a:xfrm>
            <a:off x="-9367" y="3429161"/>
            <a:ext cx="12192000" cy="65600"/>
          </a:xfrm>
          <a:prstGeom prst="rect">
            <a:avLst/>
          </a:prstGeom>
          <a:solidFill>
            <a:srgbClr val="004270"/>
          </a:solidFill>
          <a:ln w="9525" cap="flat" cmpd="sng">
            <a:solidFill>
              <a:srgbClr val="004270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defTabSz="1219170">
              <a:buClr>
                <a:srgbClr val="000000"/>
              </a:buClr>
            </a:pPr>
            <a:endParaRPr sz="1867" kern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168" name="Google Shape;168;p25" title="Decorative"/>
          <p:cNvSpPr/>
          <p:nvPr/>
        </p:nvSpPr>
        <p:spPr>
          <a:xfrm>
            <a:off x="-9367" y="3363561"/>
            <a:ext cx="12192000" cy="65600"/>
          </a:xfrm>
          <a:prstGeom prst="rect">
            <a:avLst/>
          </a:prstGeom>
          <a:solidFill>
            <a:srgbClr val="F6C65B"/>
          </a:solidFill>
          <a:ln w="9525" cap="flat" cmpd="sng">
            <a:solidFill>
              <a:srgbClr val="F6C65B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defTabSz="1219170">
              <a:buClr>
                <a:srgbClr val="000000"/>
              </a:buClr>
            </a:pPr>
            <a:endParaRPr sz="1867" kern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169" name="Google Shape;169;p25" title="Thank you!"/>
          <p:cNvSpPr/>
          <p:nvPr/>
        </p:nvSpPr>
        <p:spPr>
          <a:xfrm>
            <a:off x="3772200" y="1105200"/>
            <a:ext cx="4647600" cy="4647600"/>
          </a:xfrm>
          <a:prstGeom prst="ellipse">
            <a:avLst/>
          </a:prstGeom>
          <a:solidFill>
            <a:srgbClr val="004270"/>
          </a:solidFill>
          <a:ln w="9525" cap="flat" cmpd="sng">
            <a:solidFill>
              <a:srgbClr val="004270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defTabSz="1219170">
              <a:buClr>
                <a:srgbClr val="000000"/>
              </a:buClr>
            </a:pPr>
            <a:endParaRPr sz="1867" kern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170" name="Google Shape;170;p25"/>
          <p:cNvSpPr txBox="1"/>
          <p:nvPr/>
        </p:nvSpPr>
        <p:spPr>
          <a:xfrm>
            <a:off x="3899833" y="2772200"/>
            <a:ext cx="4520000" cy="127216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spAutoFit/>
          </a:bodyPr>
          <a:lstStyle/>
          <a:p>
            <a:pPr defTabSz="1219170">
              <a:buClr>
                <a:srgbClr val="000000"/>
              </a:buClr>
            </a:pPr>
            <a:r>
              <a:rPr lang="en" sz="6667" kern="0">
                <a:solidFill>
                  <a:srgbClr val="FFFFFF"/>
                </a:solidFill>
                <a:latin typeface="Arial"/>
                <a:cs typeface="Arial"/>
                <a:sym typeface="Arial"/>
              </a:rPr>
              <a:t>Thank you!</a:t>
            </a:r>
            <a:endParaRPr sz="6667" kern="0">
              <a:solidFill>
                <a:srgbClr val="FFFFFF"/>
              </a:solidFill>
              <a:latin typeface="Arial"/>
              <a:cs typeface="Arial"/>
              <a:sym typeface="Arial"/>
            </a:endParaRPr>
          </a:p>
        </p:txBody>
      </p:sp>
      <p:pic>
        <p:nvPicPr>
          <p:cNvPr id="171" name="Google Shape;171;p25" title="Career Ladders Project Logo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9125767" y="296834"/>
            <a:ext cx="2764367" cy="982633"/>
          </a:xfrm>
          <a:prstGeom prst="rect">
            <a:avLst/>
          </a:prstGeom>
          <a:noFill/>
          <a:ln>
            <a:noFill/>
          </a:ln>
        </p:spPr>
      </p:pic>
      <p:sp>
        <p:nvSpPr>
          <p:cNvPr id="172" name="Google Shape;172;p25"/>
          <p:cNvSpPr txBox="1"/>
          <p:nvPr/>
        </p:nvSpPr>
        <p:spPr>
          <a:xfrm>
            <a:off x="358233" y="6028867"/>
            <a:ext cx="6018800" cy="53350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spAutoFit/>
          </a:bodyPr>
          <a:lstStyle/>
          <a:p>
            <a:pPr defTabSz="1219170">
              <a:buClr>
                <a:srgbClr val="000000"/>
              </a:buClr>
            </a:pPr>
            <a:r>
              <a:rPr lang="en" sz="1867" kern="0">
                <a:solidFill>
                  <a:srgbClr val="004270"/>
                </a:solidFill>
                <a:latin typeface="Arial"/>
                <a:cs typeface="Arial"/>
                <a:sym typeface="Arial"/>
              </a:rPr>
              <a:t>www.careerladdersproject.org</a:t>
            </a:r>
            <a:endParaRPr sz="1867" kern="0">
              <a:solidFill>
                <a:srgbClr val="004270"/>
              </a:solidFill>
              <a:latin typeface="Arial"/>
              <a:cs typeface="Arial"/>
              <a:sym typeface="Arial"/>
            </a:endParaRPr>
          </a:p>
        </p:txBody>
      </p:sp>
      <p:pic>
        <p:nvPicPr>
          <p:cNvPr id="173" name="Google Shape;173;p25" title="Twitter logo">
            <a:hlinkClick r:id="rId4"/>
          </p:cNvPr>
          <p:cNvPicPr preferRelativeResize="0"/>
          <p:nvPr/>
        </p:nvPicPr>
        <p:blipFill>
          <a:blip r:embed="rId5">
            <a:alphaModFix/>
          </a:blip>
          <a:stretch>
            <a:fillRect/>
          </a:stretch>
        </p:blipFill>
        <p:spPr>
          <a:xfrm>
            <a:off x="9480734" y="4466434"/>
            <a:ext cx="1111900" cy="1111900"/>
          </a:xfrm>
          <a:prstGeom prst="rect">
            <a:avLst/>
          </a:prstGeom>
          <a:noFill/>
          <a:ln>
            <a:noFill/>
          </a:ln>
        </p:spPr>
      </p:pic>
      <p:pic>
        <p:nvPicPr>
          <p:cNvPr id="174" name="Google Shape;174;p25" title="YouTube logo">
            <a:hlinkClick r:id="rId6"/>
          </p:cNvPr>
          <p:cNvPicPr preferRelativeResize="0"/>
          <p:nvPr/>
        </p:nvPicPr>
        <p:blipFill>
          <a:blip r:embed="rId7">
            <a:alphaModFix/>
          </a:blip>
          <a:stretch>
            <a:fillRect/>
          </a:stretch>
        </p:blipFill>
        <p:spPr>
          <a:xfrm>
            <a:off x="9426001" y="5578334"/>
            <a:ext cx="1221367" cy="856367"/>
          </a:xfrm>
          <a:prstGeom prst="rect">
            <a:avLst/>
          </a:prstGeom>
          <a:noFill/>
          <a:ln>
            <a:noFill/>
          </a:ln>
        </p:spPr>
      </p:pic>
      <p:pic>
        <p:nvPicPr>
          <p:cNvPr id="175" name="Google Shape;175;p25" title="Facebook logo">
            <a:hlinkClick r:id="rId8"/>
          </p:cNvPr>
          <p:cNvPicPr preferRelativeResize="0"/>
          <p:nvPr/>
        </p:nvPicPr>
        <p:blipFill>
          <a:blip r:embed="rId9">
            <a:alphaModFix/>
          </a:blip>
          <a:stretch>
            <a:fillRect/>
          </a:stretch>
        </p:blipFill>
        <p:spPr>
          <a:xfrm>
            <a:off x="10647367" y="5450565"/>
            <a:ext cx="1111900" cy="1111900"/>
          </a:xfrm>
          <a:prstGeom prst="rect">
            <a:avLst/>
          </a:prstGeom>
          <a:noFill/>
          <a:ln>
            <a:noFill/>
          </a:ln>
        </p:spPr>
      </p:pic>
      <p:pic>
        <p:nvPicPr>
          <p:cNvPr id="176" name="Google Shape;176;p25" title="Instagram logo">
            <a:hlinkClick r:id="rId10"/>
          </p:cNvPr>
          <p:cNvPicPr preferRelativeResize="0"/>
          <p:nvPr/>
        </p:nvPicPr>
        <p:blipFill>
          <a:blip r:embed="rId11">
            <a:alphaModFix/>
          </a:blip>
          <a:stretch>
            <a:fillRect/>
          </a:stretch>
        </p:blipFill>
        <p:spPr>
          <a:xfrm>
            <a:off x="10712001" y="4531068"/>
            <a:ext cx="982633" cy="982633"/>
          </a:xfrm>
          <a:prstGeom prst="rect">
            <a:avLst/>
          </a:prstGeom>
          <a:noFill/>
          <a:ln>
            <a:noFill/>
          </a:ln>
        </p:spPr>
      </p:pic>
      <p:sp>
        <p:nvSpPr>
          <p:cNvPr id="177" name="Google Shape;177;p25"/>
          <p:cNvSpPr txBox="1"/>
          <p:nvPr/>
        </p:nvSpPr>
        <p:spPr>
          <a:xfrm>
            <a:off x="941700" y="6417867"/>
            <a:ext cx="5896000" cy="53350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spAutoFit/>
          </a:bodyPr>
          <a:lstStyle/>
          <a:p>
            <a:pPr defTabSz="1219170">
              <a:buClr>
                <a:srgbClr val="000000"/>
              </a:buClr>
            </a:pPr>
            <a:endParaRPr sz="1867" kern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178" name="Google Shape;178;p25"/>
          <p:cNvSpPr txBox="1"/>
          <p:nvPr/>
        </p:nvSpPr>
        <p:spPr>
          <a:xfrm>
            <a:off x="478333" y="458667"/>
            <a:ext cx="4411200" cy="8208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spAutoFit/>
          </a:bodyPr>
          <a:lstStyle/>
          <a:p>
            <a:pPr defTabSz="1219170">
              <a:buClr>
                <a:srgbClr val="000000"/>
              </a:buClr>
            </a:pPr>
            <a:r>
              <a:rPr lang="en" sz="1867" u="sng" kern="0">
                <a:solidFill>
                  <a:srgbClr val="0097A7"/>
                </a:solidFill>
                <a:latin typeface="Arial"/>
                <a:cs typeface="Arial"/>
                <a:sym typeface="Arial"/>
                <a:hlinkClick r:id="rId12"/>
              </a:rPr>
              <a:t>LChavez@careerladdersproject.org</a:t>
            </a:r>
            <a:endParaRPr sz="1867" kern="0">
              <a:solidFill>
                <a:srgbClr val="000000"/>
              </a:solidFill>
              <a:latin typeface="Arial"/>
              <a:cs typeface="Arial"/>
              <a:sym typeface="Arial"/>
            </a:endParaRPr>
          </a:p>
          <a:p>
            <a:pPr defTabSz="1219170">
              <a:buClr>
                <a:srgbClr val="000000"/>
              </a:buClr>
              <a:buSzPts val="1100"/>
            </a:pPr>
            <a:r>
              <a:rPr lang="en" sz="1867" u="sng" kern="0">
                <a:solidFill>
                  <a:srgbClr val="0097A7"/>
                </a:solidFill>
                <a:latin typeface="Arial"/>
                <a:cs typeface="Arial"/>
                <a:sym typeface="Arial"/>
                <a:hlinkClick r:id="rId13"/>
              </a:rPr>
              <a:t>MSimotas@careerladdersproject.org</a:t>
            </a:r>
            <a:r>
              <a:rPr lang="en" sz="1867" ker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 </a:t>
            </a:r>
            <a:endParaRPr sz="1867" kern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1114522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Content Placeholder 6">
            <a:extLst>
              <a:ext uri="{FF2B5EF4-FFF2-40B4-BE49-F238E27FC236}">
                <a16:creationId xmlns:a16="http://schemas.microsoft.com/office/drawing/2014/main" id="{4E309508-96F4-4FD8-975B-7940E5B41E65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788" t="1546" r="11893" b="-11"/>
          <a:stretch/>
        </p:blipFill>
        <p:spPr>
          <a:xfrm rot="5400000">
            <a:off x="416280" y="1500883"/>
            <a:ext cx="3464178" cy="3464178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sp>
        <p:nvSpPr>
          <p:cNvPr id="18" name="Round Single Corner Rectangle 17"/>
          <p:cNvSpPr/>
          <p:nvPr/>
        </p:nvSpPr>
        <p:spPr>
          <a:xfrm>
            <a:off x="429780" y="4542478"/>
            <a:ext cx="3215463" cy="413042"/>
          </a:xfrm>
          <a:prstGeom prst="round1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BF518A3A-ECE0-42A2-BD7B-43096BD7B6FA}"/>
              </a:ext>
            </a:extLst>
          </p:cNvPr>
          <p:cNvSpPr/>
          <p:nvPr/>
        </p:nvSpPr>
        <p:spPr>
          <a:xfrm>
            <a:off x="366852" y="228614"/>
            <a:ext cx="11458296" cy="690843"/>
          </a:xfrm>
          <a:prstGeom prst="rect">
            <a:avLst/>
          </a:prstGeom>
          <a:solidFill>
            <a:srgbClr val="006633"/>
          </a:solidFill>
          <a:ln>
            <a:noFill/>
          </a:ln>
          <a:effectLst/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/>
          </a:p>
        </p:txBody>
      </p:sp>
      <p:sp>
        <p:nvSpPr>
          <p:cNvPr id="6" name="Title 1"/>
          <p:cNvSpPr txBox="1">
            <a:spLocks/>
          </p:cNvSpPr>
          <p:nvPr/>
        </p:nvSpPr>
        <p:spPr>
          <a:xfrm>
            <a:off x="733704" y="323024"/>
            <a:ext cx="10515600" cy="528108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0000"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sz="3600" b="1" dirty="0" err="1">
                <a:solidFill>
                  <a:schemeClr val="bg1"/>
                </a:solidFill>
                <a:effectLst>
                  <a:outerShdw blurRad="50800" dist="50800" dir="5400000" algn="ctr" rotWithShape="0">
                    <a:srgbClr val="000000">
                      <a:alpha val="43137"/>
                    </a:srgbClr>
                  </a:outerShdw>
                </a:effectLst>
                <a:latin typeface="Franklin Gothic Book" panose="020B0503020102020204" pitchFamily="34" charset="0"/>
              </a:rPr>
              <a:t>Cañada</a:t>
            </a:r>
            <a:r>
              <a:rPr lang="en-US" sz="3600" b="1" dirty="0">
                <a:solidFill>
                  <a:schemeClr val="bg1"/>
                </a:solidFill>
                <a:effectLst>
                  <a:outerShdw blurRad="50800" dist="50800" dir="5400000" algn="ctr" rotWithShape="0">
                    <a:srgbClr val="000000">
                      <a:alpha val="43137"/>
                    </a:srgbClr>
                  </a:outerShdw>
                </a:effectLst>
                <a:latin typeface="Franklin Gothic Book" panose="020B0503020102020204" pitchFamily="34" charset="0"/>
              </a:rPr>
              <a:t> College – 30 Years Service Awards</a:t>
            </a:r>
          </a:p>
        </p:txBody>
      </p:sp>
      <p:sp>
        <p:nvSpPr>
          <p:cNvPr id="7" name="Rectangle 9">
            <a:extLst>
              <a:ext uri="{FF2B5EF4-FFF2-40B4-BE49-F238E27FC236}">
                <a16:creationId xmlns:a16="http://schemas.microsoft.com/office/drawing/2014/main" id="{29C5912D-DD36-465B-BD92-BB0220505875}"/>
              </a:ext>
            </a:extLst>
          </p:cNvPr>
          <p:cNvSpPr/>
          <p:nvPr/>
        </p:nvSpPr>
        <p:spPr>
          <a:xfrm rot="10800000" flipH="1">
            <a:off x="366852" y="228614"/>
            <a:ext cx="1788160" cy="690775"/>
          </a:xfrm>
          <a:custGeom>
            <a:avLst/>
            <a:gdLst>
              <a:gd name="connsiteX0" fmla="*/ 0 w 1995342"/>
              <a:gd name="connsiteY0" fmla="*/ 0 h 690843"/>
              <a:gd name="connsiteX1" fmla="*/ 1995342 w 1995342"/>
              <a:gd name="connsiteY1" fmla="*/ 0 h 690843"/>
              <a:gd name="connsiteX2" fmla="*/ 1995342 w 1995342"/>
              <a:gd name="connsiteY2" fmla="*/ 690843 h 690843"/>
              <a:gd name="connsiteX3" fmla="*/ 0 w 1995342"/>
              <a:gd name="connsiteY3" fmla="*/ 690843 h 690843"/>
              <a:gd name="connsiteX4" fmla="*/ 0 w 1995342"/>
              <a:gd name="connsiteY4" fmla="*/ 0 h 690843"/>
              <a:gd name="connsiteX0" fmla="*/ 0 w 1995342"/>
              <a:gd name="connsiteY0" fmla="*/ 0 h 690843"/>
              <a:gd name="connsiteX1" fmla="*/ 1375630 w 1995342"/>
              <a:gd name="connsiteY1" fmla="*/ 0 h 690843"/>
              <a:gd name="connsiteX2" fmla="*/ 1995342 w 1995342"/>
              <a:gd name="connsiteY2" fmla="*/ 690843 h 690843"/>
              <a:gd name="connsiteX3" fmla="*/ 0 w 1995342"/>
              <a:gd name="connsiteY3" fmla="*/ 690843 h 690843"/>
              <a:gd name="connsiteX4" fmla="*/ 0 w 1995342"/>
              <a:gd name="connsiteY4" fmla="*/ 0 h 690843"/>
              <a:gd name="connsiteX0" fmla="*/ 0 w 1995342"/>
              <a:gd name="connsiteY0" fmla="*/ 0 h 690843"/>
              <a:gd name="connsiteX1" fmla="*/ 1427711 w 1995342"/>
              <a:gd name="connsiteY1" fmla="*/ 53873 h 690843"/>
              <a:gd name="connsiteX2" fmla="*/ 1995342 w 1995342"/>
              <a:gd name="connsiteY2" fmla="*/ 690843 h 690843"/>
              <a:gd name="connsiteX3" fmla="*/ 0 w 1995342"/>
              <a:gd name="connsiteY3" fmla="*/ 690843 h 690843"/>
              <a:gd name="connsiteX4" fmla="*/ 0 w 1995342"/>
              <a:gd name="connsiteY4" fmla="*/ 0 h 690843"/>
              <a:gd name="connsiteX0" fmla="*/ 26571 w 1995342"/>
              <a:gd name="connsiteY0" fmla="*/ 15898 h 636970"/>
              <a:gd name="connsiteX1" fmla="*/ 1427711 w 1995342"/>
              <a:gd name="connsiteY1" fmla="*/ 0 h 636970"/>
              <a:gd name="connsiteX2" fmla="*/ 1995342 w 1995342"/>
              <a:gd name="connsiteY2" fmla="*/ 636970 h 636970"/>
              <a:gd name="connsiteX3" fmla="*/ 0 w 1995342"/>
              <a:gd name="connsiteY3" fmla="*/ 636970 h 636970"/>
              <a:gd name="connsiteX4" fmla="*/ 26571 w 1995342"/>
              <a:gd name="connsiteY4" fmla="*/ 15898 h 636970"/>
              <a:gd name="connsiteX0" fmla="*/ 0 w 1995342"/>
              <a:gd name="connsiteY0" fmla="*/ 0 h 640502"/>
              <a:gd name="connsiteX1" fmla="*/ 1427711 w 1995342"/>
              <a:gd name="connsiteY1" fmla="*/ 3532 h 640502"/>
              <a:gd name="connsiteX2" fmla="*/ 1995342 w 1995342"/>
              <a:gd name="connsiteY2" fmla="*/ 640502 h 640502"/>
              <a:gd name="connsiteX3" fmla="*/ 0 w 1995342"/>
              <a:gd name="connsiteY3" fmla="*/ 640502 h 640502"/>
              <a:gd name="connsiteX4" fmla="*/ 0 w 1995342"/>
              <a:gd name="connsiteY4" fmla="*/ 0 h 640502"/>
              <a:gd name="connsiteX0" fmla="*/ 0 w 1995342"/>
              <a:gd name="connsiteY0" fmla="*/ 0 h 640502"/>
              <a:gd name="connsiteX1" fmla="*/ 1420271 w 1995342"/>
              <a:gd name="connsiteY1" fmla="*/ 1765 h 640502"/>
              <a:gd name="connsiteX2" fmla="*/ 1995342 w 1995342"/>
              <a:gd name="connsiteY2" fmla="*/ 640502 h 640502"/>
              <a:gd name="connsiteX3" fmla="*/ 0 w 1995342"/>
              <a:gd name="connsiteY3" fmla="*/ 640502 h 640502"/>
              <a:gd name="connsiteX4" fmla="*/ 0 w 1995342"/>
              <a:gd name="connsiteY4" fmla="*/ 0 h 640502"/>
              <a:gd name="connsiteX0" fmla="*/ 0 w 1995342"/>
              <a:gd name="connsiteY0" fmla="*/ 0 h 640502"/>
              <a:gd name="connsiteX1" fmla="*/ 1439402 w 1995342"/>
              <a:gd name="connsiteY1" fmla="*/ 3532 h 640502"/>
              <a:gd name="connsiteX2" fmla="*/ 1995342 w 1995342"/>
              <a:gd name="connsiteY2" fmla="*/ 640502 h 640502"/>
              <a:gd name="connsiteX3" fmla="*/ 0 w 1995342"/>
              <a:gd name="connsiteY3" fmla="*/ 640502 h 640502"/>
              <a:gd name="connsiteX4" fmla="*/ 0 w 1995342"/>
              <a:gd name="connsiteY4" fmla="*/ 0 h 640502"/>
              <a:gd name="connsiteX0" fmla="*/ 0 w 1995342"/>
              <a:gd name="connsiteY0" fmla="*/ 0 h 640502"/>
              <a:gd name="connsiteX1" fmla="*/ 1441528 w 1995342"/>
              <a:gd name="connsiteY1" fmla="*/ 1765 h 640502"/>
              <a:gd name="connsiteX2" fmla="*/ 1995342 w 1995342"/>
              <a:gd name="connsiteY2" fmla="*/ 640502 h 640502"/>
              <a:gd name="connsiteX3" fmla="*/ 0 w 1995342"/>
              <a:gd name="connsiteY3" fmla="*/ 640502 h 640502"/>
              <a:gd name="connsiteX4" fmla="*/ 0 w 1995342"/>
              <a:gd name="connsiteY4" fmla="*/ 0 h 640502"/>
              <a:gd name="connsiteX0" fmla="*/ 0 w 1995342"/>
              <a:gd name="connsiteY0" fmla="*/ 0 h 640502"/>
              <a:gd name="connsiteX1" fmla="*/ 1442591 w 1995342"/>
              <a:gd name="connsiteY1" fmla="*/ 882 h 640502"/>
              <a:gd name="connsiteX2" fmla="*/ 1995342 w 1995342"/>
              <a:gd name="connsiteY2" fmla="*/ 640502 h 640502"/>
              <a:gd name="connsiteX3" fmla="*/ 0 w 1995342"/>
              <a:gd name="connsiteY3" fmla="*/ 640502 h 640502"/>
              <a:gd name="connsiteX4" fmla="*/ 0 w 1995342"/>
              <a:gd name="connsiteY4" fmla="*/ 0 h 6405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95342" h="640502">
                <a:moveTo>
                  <a:pt x="0" y="0"/>
                </a:moveTo>
                <a:lnTo>
                  <a:pt x="1442591" y="882"/>
                </a:lnTo>
                <a:lnTo>
                  <a:pt x="1995342" y="640502"/>
                </a:lnTo>
                <a:lnTo>
                  <a:pt x="0" y="640502"/>
                </a:lnTo>
                <a:lnTo>
                  <a:pt x="0" y="0"/>
                </a:lnTo>
                <a:close/>
              </a:path>
            </a:pathLst>
          </a:custGeom>
          <a:ln>
            <a:noFill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sz="1100" dirty="0"/>
          </a:p>
        </p:txBody>
      </p:sp>
      <p:sp>
        <p:nvSpPr>
          <p:cNvPr id="10" name="Content Placeholder 2"/>
          <p:cNvSpPr txBox="1">
            <a:spLocks/>
          </p:cNvSpPr>
          <p:nvPr/>
        </p:nvSpPr>
        <p:spPr>
          <a:xfrm>
            <a:off x="429780" y="5288789"/>
            <a:ext cx="3533000" cy="111027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dirty="0">
                <a:solidFill>
                  <a:srgbClr val="006633"/>
                </a:solidFill>
                <a:latin typeface="Adobe Garamond Pro" panose="02020502060506020403" pitchFamily="18" charset="0"/>
              </a:rPr>
              <a:t>Professor, Mathematics</a:t>
            </a:r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A706A127-5D94-4F71-B4B9-A46D6E6F1079}"/>
              </a:ext>
            </a:extLst>
          </p:cNvPr>
          <p:cNvSpPr txBox="1">
            <a:spLocks/>
          </p:cNvSpPr>
          <p:nvPr/>
        </p:nvSpPr>
        <p:spPr>
          <a:xfrm>
            <a:off x="538133" y="4516023"/>
            <a:ext cx="3328348" cy="35415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3200" dirty="0">
                <a:solidFill>
                  <a:srgbClr val="006633"/>
                </a:solidFill>
                <a:latin typeface="Franklin Gothic Medium" panose="020B0603020102020204" pitchFamily="34" charset="0"/>
              </a:rPr>
              <a:t>Evan </a:t>
            </a:r>
            <a:r>
              <a:rPr lang="en-US" sz="3200" dirty="0" err="1">
                <a:solidFill>
                  <a:srgbClr val="006633"/>
                </a:solidFill>
                <a:latin typeface="Franklin Gothic Medium" panose="020B0603020102020204" pitchFamily="34" charset="0"/>
              </a:rPr>
              <a:t>Innerst</a:t>
            </a:r>
            <a:endParaRPr lang="en-US" sz="3200" dirty="0">
              <a:solidFill>
                <a:srgbClr val="006633"/>
              </a:solidFill>
              <a:latin typeface="Franklin Gothic Medium" panose="020B0603020102020204" pitchFamily="34" charset="0"/>
            </a:endParaRPr>
          </a:p>
        </p:txBody>
      </p:sp>
      <p:pic>
        <p:nvPicPr>
          <p:cNvPr id="19" name="Content Placeholder 6">
            <a:extLst>
              <a:ext uri="{FF2B5EF4-FFF2-40B4-BE49-F238E27FC236}">
                <a16:creationId xmlns:a16="http://schemas.microsoft.com/office/drawing/2014/main" id="{4E309508-96F4-4FD8-975B-7940E5B41E65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409" t="2674" r="5984" b="28833"/>
          <a:stretch/>
        </p:blipFill>
        <p:spPr>
          <a:xfrm>
            <a:off x="4332937" y="1478755"/>
            <a:ext cx="3464178" cy="3464178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sp>
        <p:nvSpPr>
          <p:cNvPr id="25" name="Round Single Corner Rectangle 24"/>
          <p:cNvSpPr/>
          <p:nvPr/>
        </p:nvSpPr>
        <p:spPr>
          <a:xfrm>
            <a:off x="4332936" y="4507148"/>
            <a:ext cx="3254113" cy="413042"/>
          </a:xfrm>
          <a:prstGeom prst="round1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Content Placeholder 2"/>
          <p:cNvSpPr txBox="1">
            <a:spLocks/>
          </p:cNvSpPr>
          <p:nvPr/>
        </p:nvSpPr>
        <p:spPr>
          <a:xfrm>
            <a:off x="4332937" y="5241102"/>
            <a:ext cx="3533000" cy="111027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en-US" dirty="0">
              <a:solidFill>
                <a:srgbClr val="006633"/>
              </a:solidFill>
              <a:latin typeface="Adobe Garamond Pro" panose="02020502060506020403" pitchFamily="18" charset="0"/>
            </a:endParaRPr>
          </a:p>
        </p:txBody>
      </p:sp>
      <p:sp>
        <p:nvSpPr>
          <p:cNvPr id="27" name="Content Placeholder 2">
            <a:extLst>
              <a:ext uri="{FF2B5EF4-FFF2-40B4-BE49-F238E27FC236}">
                <a16:creationId xmlns:a16="http://schemas.microsoft.com/office/drawing/2014/main" id="{A706A127-5D94-4F71-B4B9-A46D6E6F1079}"/>
              </a:ext>
            </a:extLst>
          </p:cNvPr>
          <p:cNvSpPr txBox="1">
            <a:spLocks/>
          </p:cNvSpPr>
          <p:nvPr/>
        </p:nvSpPr>
        <p:spPr>
          <a:xfrm>
            <a:off x="4441290" y="4468336"/>
            <a:ext cx="3328348" cy="35415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3200" dirty="0">
                <a:solidFill>
                  <a:srgbClr val="006633"/>
                </a:solidFill>
                <a:latin typeface="Franklin Gothic Medium" panose="020B0603020102020204" pitchFamily="34" charset="0"/>
              </a:rPr>
              <a:t>José Romero</a:t>
            </a:r>
          </a:p>
        </p:txBody>
      </p:sp>
      <p:sp>
        <p:nvSpPr>
          <p:cNvPr id="14" name="Content Placeholder 2"/>
          <p:cNvSpPr txBox="1">
            <a:spLocks/>
          </p:cNvSpPr>
          <p:nvPr/>
        </p:nvSpPr>
        <p:spPr>
          <a:xfrm>
            <a:off x="4251188" y="5241102"/>
            <a:ext cx="3792637" cy="111027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dirty="0">
                <a:solidFill>
                  <a:srgbClr val="006633"/>
                </a:solidFill>
                <a:latin typeface="Adobe Garamond Pro" panose="02020502060506020403" pitchFamily="18" charset="0"/>
              </a:rPr>
              <a:t>Program Services Coordinator, </a:t>
            </a:r>
            <a:r>
              <a:rPr lang="en-US" sz="2400" dirty="0" err="1">
                <a:solidFill>
                  <a:srgbClr val="006633"/>
                </a:solidFill>
                <a:latin typeface="Adobe Garamond Pro" panose="02020502060506020403" pitchFamily="18" charset="0"/>
              </a:rPr>
              <a:t>EOPS</a:t>
            </a:r>
            <a:r>
              <a:rPr lang="en-US" sz="2400" dirty="0">
                <a:solidFill>
                  <a:srgbClr val="006633"/>
                </a:solidFill>
                <a:latin typeface="Adobe Garamond Pro" panose="02020502060506020403" pitchFamily="18" charset="0"/>
              </a:rPr>
              <a:t>/CARE/CalWORKs</a:t>
            </a:r>
          </a:p>
        </p:txBody>
      </p:sp>
      <p:pic>
        <p:nvPicPr>
          <p:cNvPr id="15" name="Content Placeholder 6">
            <a:extLst>
              <a:ext uri="{FF2B5EF4-FFF2-40B4-BE49-F238E27FC236}">
                <a16:creationId xmlns:a16="http://schemas.microsoft.com/office/drawing/2014/main" id="{4E309508-96F4-4FD8-975B-7940E5B41E65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750" t="14133" r="30615" b="19978"/>
          <a:stretch/>
        </p:blipFill>
        <p:spPr>
          <a:xfrm>
            <a:off x="8264089" y="1477357"/>
            <a:ext cx="3465576" cy="3465576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sp>
        <p:nvSpPr>
          <p:cNvPr id="17" name="Round Single Corner Rectangle 16"/>
          <p:cNvSpPr/>
          <p:nvPr/>
        </p:nvSpPr>
        <p:spPr>
          <a:xfrm>
            <a:off x="8292964" y="4507148"/>
            <a:ext cx="3223532" cy="413042"/>
          </a:xfrm>
          <a:prstGeom prst="round1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Content Placeholder 2"/>
          <p:cNvSpPr txBox="1">
            <a:spLocks/>
          </p:cNvSpPr>
          <p:nvPr/>
        </p:nvSpPr>
        <p:spPr>
          <a:xfrm>
            <a:off x="8292964" y="5241102"/>
            <a:ext cx="3533000" cy="111027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en-US" dirty="0">
              <a:solidFill>
                <a:srgbClr val="006633"/>
              </a:solidFill>
              <a:latin typeface="Adobe Garamond Pro" panose="02020502060506020403" pitchFamily="18" charset="0"/>
            </a:endParaRPr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A706A127-5D94-4F71-B4B9-A46D6E6F1079}"/>
              </a:ext>
            </a:extLst>
          </p:cNvPr>
          <p:cNvSpPr txBox="1">
            <a:spLocks/>
          </p:cNvSpPr>
          <p:nvPr/>
        </p:nvSpPr>
        <p:spPr>
          <a:xfrm>
            <a:off x="8401317" y="4468336"/>
            <a:ext cx="3328348" cy="35415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3200" dirty="0">
                <a:solidFill>
                  <a:srgbClr val="006633"/>
                </a:solidFill>
                <a:latin typeface="Franklin Gothic Medium" panose="020B0603020102020204" pitchFamily="34" charset="0"/>
              </a:rPr>
              <a:t>Paul </a:t>
            </a:r>
            <a:r>
              <a:rPr lang="en-US" sz="3200" dirty="0" err="1">
                <a:solidFill>
                  <a:srgbClr val="006633"/>
                </a:solidFill>
                <a:latin typeface="Franklin Gothic Medium" panose="020B0603020102020204" pitchFamily="34" charset="0"/>
              </a:rPr>
              <a:t>Roscelli</a:t>
            </a:r>
            <a:endParaRPr lang="en-US" sz="3200" dirty="0">
              <a:solidFill>
                <a:srgbClr val="006633"/>
              </a:solidFill>
              <a:latin typeface="Franklin Gothic Medium" panose="020B0603020102020204" pitchFamily="34" charset="0"/>
            </a:endParaRPr>
          </a:p>
        </p:txBody>
      </p:sp>
      <p:sp>
        <p:nvSpPr>
          <p:cNvPr id="22" name="Content Placeholder 2"/>
          <p:cNvSpPr txBox="1">
            <a:spLocks/>
          </p:cNvSpPr>
          <p:nvPr/>
        </p:nvSpPr>
        <p:spPr>
          <a:xfrm>
            <a:off x="8211216" y="5241102"/>
            <a:ext cx="3782138" cy="111027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AU" sz="2400" dirty="0">
                <a:solidFill>
                  <a:srgbClr val="006633"/>
                </a:solidFill>
                <a:latin typeface="Adobe Garamond Pro" panose="02020502060506020403" pitchFamily="18" charset="0"/>
              </a:rPr>
              <a:t>Professor, Economics and Advisor, Phi Theta Kappa</a:t>
            </a:r>
            <a:endParaRPr lang="en-US" sz="2400" dirty="0">
              <a:solidFill>
                <a:srgbClr val="006633"/>
              </a:solidFill>
              <a:latin typeface="Adobe Garamond Pro" panose="02020502060506020403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03221655"/>
      </p:ext>
    </p:extLst>
  </p:cSld>
  <p:clrMapOvr>
    <a:masterClrMapping/>
  </p:clrMapOvr>
  <p:transition spd="slow">
    <p:cover/>
  </p:transition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814623" y="1463040"/>
            <a:ext cx="10353762" cy="5101389"/>
          </a:xfrm>
        </p:spPr>
        <p:txBody>
          <a:bodyPr>
            <a:normAutofit fontScale="90000"/>
          </a:bodyPr>
          <a:lstStyle/>
          <a:p>
            <a:pPr algn="ctr"/>
            <a:r>
              <a:rPr lang="en-US" dirty="0" smtClean="0">
                <a:latin typeface="+mn-lt"/>
              </a:rPr>
              <a:t>Thank you to the more than 40 faculty, staff and student leaders who participated in our Leadership Retreat this year!</a:t>
            </a:r>
            <a:br>
              <a:rPr lang="en-US" dirty="0" smtClean="0">
                <a:latin typeface="+mn-lt"/>
              </a:rPr>
            </a:br>
            <a:r>
              <a:rPr lang="en-US" dirty="0">
                <a:latin typeface="+mn-lt"/>
              </a:rPr>
              <a:t/>
            </a:r>
            <a:br>
              <a:rPr lang="en-US" dirty="0">
                <a:latin typeface="+mn-lt"/>
              </a:rPr>
            </a:br>
            <a:r>
              <a:rPr lang="en-US" sz="3600" dirty="0" smtClean="0">
                <a:latin typeface="+mn-lt"/>
              </a:rPr>
              <a:t>Held on Zoom on August 11 &amp; 12, 2021</a:t>
            </a:r>
            <a:br>
              <a:rPr lang="en-US" sz="3600" dirty="0" smtClean="0">
                <a:latin typeface="+mn-lt"/>
              </a:rPr>
            </a:br>
            <a:r>
              <a:rPr lang="en-US" dirty="0">
                <a:latin typeface="+mn-lt"/>
              </a:rPr>
              <a:t/>
            </a:r>
            <a:br>
              <a:rPr lang="en-US" dirty="0">
                <a:latin typeface="+mn-lt"/>
              </a:rPr>
            </a:br>
            <a:r>
              <a:rPr lang="en-US" sz="3600" dirty="0" smtClean="0">
                <a:latin typeface="+mn-lt"/>
              </a:rPr>
              <a:t>All materials </a:t>
            </a:r>
            <a:r>
              <a:rPr lang="en-US" sz="3600" dirty="0">
                <a:latin typeface="+mn-lt"/>
              </a:rPr>
              <a:t>are posted here:</a:t>
            </a:r>
            <a:br>
              <a:rPr lang="en-US" sz="3600" dirty="0">
                <a:latin typeface="+mn-lt"/>
              </a:rPr>
            </a:br>
            <a:r>
              <a:rPr lang="en-US" sz="3600" dirty="0">
                <a:latin typeface="+mn-lt"/>
                <a:hlinkClick r:id="rId2"/>
              </a:rPr>
              <a:t>https://</a:t>
            </a:r>
            <a:r>
              <a:rPr lang="en-US" sz="3600" dirty="0" smtClean="0">
                <a:latin typeface="+mn-lt"/>
                <a:hlinkClick r:id="rId2"/>
              </a:rPr>
              <a:t>canadacollege.edu/plans/leadership-retreat.php</a:t>
            </a:r>
            <a:r>
              <a:rPr lang="en-US" dirty="0" smtClean="0">
                <a:latin typeface="+mn-lt"/>
              </a:rPr>
              <a:t/>
            </a:r>
            <a:br>
              <a:rPr lang="en-US" dirty="0" smtClean="0">
                <a:latin typeface="+mn-lt"/>
              </a:rPr>
            </a:br>
            <a:endParaRPr lang="en-US" dirty="0">
              <a:latin typeface="+mn-lt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BF518A3A-ECE0-42A2-BD7B-43096BD7B6FA}"/>
              </a:ext>
            </a:extLst>
          </p:cNvPr>
          <p:cNvSpPr/>
          <p:nvPr/>
        </p:nvSpPr>
        <p:spPr>
          <a:xfrm>
            <a:off x="366852" y="228614"/>
            <a:ext cx="11458296" cy="690843"/>
          </a:xfrm>
          <a:prstGeom prst="rect">
            <a:avLst/>
          </a:prstGeom>
          <a:solidFill>
            <a:srgbClr val="006633"/>
          </a:solidFill>
          <a:ln>
            <a:noFill/>
          </a:ln>
          <a:effectLst/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/>
          </a:p>
        </p:txBody>
      </p:sp>
      <p:sp>
        <p:nvSpPr>
          <p:cNvPr id="6" name="Title 1"/>
          <p:cNvSpPr txBox="1">
            <a:spLocks/>
          </p:cNvSpPr>
          <p:nvPr/>
        </p:nvSpPr>
        <p:spPr>
          <a:xfrm>
            <a:off x="733704" y="323024"/>
            <a:ext cx="10515600" cy="528108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0000"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sz="3600" b="1" dirty="0" smtClean="0">
                <a:solidFill>
                  <a:schemeClr val="bg1"/>
                </a:solidFill>
                <a:effectLst>
                  <a:outerShdw blurRad="50800" dist="50800" dir="5400000" algn="ctr" rotWithShape="0">
                    <a:srgbClr val="000000">
                      <a:alpha val="43137"/>
                    </a:srgbClr>
                  </a:outerShdw>
                </a:effectLst>
                <a:latin typeface="Franklin Gothic Book" panose="020B0503020102020204" pitchFamily="34" charset="0"/>
              </a:rPr>
              <a:t>Leadership Retreat Report Out</a:t>
            </a:r>
            <a:endParaRPr lang="en-US" sz="3600" b="1" dirty="0">
              <a:solidFill>
                <a:schemeClr val="bg1"/>
              </a:solidFill>
              <a:effectLst>
                <a:outerShdw blurRad="50800" dist="50800" dir="5400000" algn="ctr" rotWithShape="0">
                  <a:srgbClr val="000000">
                    <a:alpha val="43137"/>
                  </a:srgbClr>
                </a:outerShdw>
              </a:effectLst>
              <a:latin typeface="Franklin Gothic Book" panose="020B0503020102020204" pitchFamily="34" charset="0"/>
            </a:endParaRPr>
          </a:p>
        </p:txBody>
      </p:sp>
      <p:sp>
        <p:nvSpPr>
          <p:cNvPr id="7" name="Rectangle 9">
            <a:extLst>
              <a:ext uri="{FF2B5EF4-FFF2-40B4-BE49-F238E27FC236}">
                <a16:creationId xmlns:a16="http://schemas.microsoft.com/office/drawing/2014/main" id="{29C5912D-DD36-465B-BD92-BB0220505875}"/>
              </a:ext>
            </a:extLst>
          </p:cNvPr>
          <p:cNvSpPr/>
          <p:nvPr/>
        </p:nvSpPr>
        <p:spPr>
          <a:xfrm rot="10800000" flipH="1">
            <a:off x="366852" y="228614"/>
            <a:ext cx="1788160" cy="690775"/>
          </a:xfrm>
          <a:custGeom>
            <a:avLst/>
            <a:gdLst>
              <a:gd name="connsiteX0" fmla="*/ 0 w 1995342"/>
              <a:gd name="connsiteY0" fmla="*/ 0 h 690843"/>
              <a:gd name="connsiteX1" fmla="*/ 1995342 w 1995342"/>
              <a:gd name="connsiteY1" fmla="*/ 0 h 690843"/>
              <a:gd name="connsiteX2" fmla="*/ 1995342 w 1995342"/>
              <a:gd name="connsiteY2" fmla="*/ 690843 h 690843"/>
              <a:gd name="connsiteX3" fmla="*/ 0 w 1995342"/>
              <a:gd name="connsiteY3" fmla="*/ 690843 h 690843"/>
              <a:gd name="connsiteX4" fmla="*/ 0 w 1995342"/>
              <a:gd name="connsiteY4" fmla="*/ 0 h 690843"/>
              <a:gd name="connsiteX0" fmla="*/ 0 w 1995342"/>
              <a:gd name="connsiteY0" fmla="*/ 0 h 690843"/>
              <a:gd name="connsiteX1" fmla="*/ 1375630 w 1995342"/>
              <a:gd name="connsiteY1" fmla="*/ 0 h 690843"/>
              <a:gd name="connsiteX2" fmla="*/ 1995342 w 1995342"/>
              <a:gd name="connsiteY2" fmla="*/ 690843 h 690843"/>
              <a:gd name="connsiteX3" fmla="*/ 0 w 1995342"/>
              <a:gd name="connsiteY3" fmla="*/ 690843 h 690843"/>
              <a:gd name="connsiteX4" fmla="*/ 0 w 1995342"/>
              <a:gd name="connsiteY4" fmla="*/ 0 h 690843"/>
              <a:gd name="connsiteX0" fmla="*/ 0 w 1995342"/>
              <a:gd name="connsiteY0" fmla="*/ 0 h 690843"/>
              <a:gd name="connsiteX1" fmla="*/ 1427711 w 1995342"/>
              <a:gd name="connsiteY1" fmla="*/ 53873 h 690843"/>
              <a:gd name="connsiteX2" fmla="*/ 1995342 w 1995342"/>
              <a:gd name="connsiteY2" fmla="*/ 690843 h 690843"/>
              <a:gd name="connsiteX3" fmla="*/ 0 w 1995342"/>
              <a:gd name="connsiteY3" fmla="*/ 690843 h 690843"/>
              <a:gd name="connsiteX4" fmla="*/ 0 w 1995342"/>
              <a:gd name="connsiteY4" fmla="*/ 0 h 690843"/>
              <a:gd name="connsiteX0" fmla="*/ 26571 w 1995342"/>
              <a:gd name="connsiteY0" fmla="*/ 15898 h 636970"/>
              <a:gd name="connsiteX1" fmla="*/ 1427711 w 1995342"/>
              <a:gd name="connsiteY1" fmla="*/ 0 h 636970"/>
              <a:gd name="connsiteX2" fmla="*/ 1995342 w 1995342"/>
              <a:gd name="connsiteY2" fmla="*/ 636970 h 636970"/>
              <a:gd name="connsiteX3" fmla="*/ 0 w 1995342"/>
              <a:gd name="connsiteY3" fmla="*/ 636970 h 636970"/>
              <a:gd name="connsiteX4" fmla="*/ 26571 w 1995342"/>
              <a:gd name="connsiteY4" fmla="*/ 15898 h 636970"/>
              <a:gd name="connsiteX0" fmla="*/ 0 w 1995342"/>
              <a:gd name="connsiteY0" fmla="*/ 0 h 640502"/>
              <a:gd name="connsiteX1" fmla="*/ 1427711 w 1995342"/>
              <a:gd name="connsiteY1" fmla="*/ 3532 h 640502"/>
              <a:gd name="connsiteX2" fmla="*/ 1995342 w 1995342"/>
              <a:gd name="connsiteY2" fmla="*/ 640502 h 640502"/>
              <a:gd name="connsiteX3" fmla="*/ 0 w 1995342"/>
              <a:gd name="connsiteY3" fmla="*/ 640502 h 640502"/>
              <a:gd name="connsiteX4" fmla="*/ 0 w 1995342"/>
              <a:gd name="connsiteY4" fmla="*/ 0 h 640502"/>
              <a:gd name="connsiteX0" fmla="*/ 0 w 1995342"/>
              <a:gd name="connsiteY0" fmla="*/ 0 h 640502"/>
              <a:gd name="connsiteX1" fmla="*/ 1420271 w 1995342"/>
              <a:gd name="connsiteY1" fmla="*/ 1765 h 640502"/>
              <a:gd name="connsiteX2" fmla="*/ 1995342 w 1995342"/>
              <a:gd name="connsiteY2" fmla="*/ 640502 h 640502"/>
              <a:gd name="connsiteX3" fmla="*/ 0 w 1995342"/>
              <a:gd name="connsiteY3" fmla="*/ 640502 h 640502"/>
              <a:gd name="connsiteX4" fmla="*/ 0 w 1995342"/>
              <a:gd name="connsiteY4" fmla="*/ 0 h 640502"/>
              <a:gd name="connsiteX0" fmla="*/ 0 w 1995342"/>
              <a:gd name="connsiteY0" fmla="*/ 0 h 640502"/>
              <a:gd name="connsiteX1" fmla="*/ 1439402 w 1995342"/>
              <a:gd name="connsiteY1" fmla="*/ 3532 h 640502"/>
              <a:gd name="connsiteX2" fmla="*/ 1995342 w 1995342"/>
              <a:gd name="connsiteY2" fmla="*/ 640502 h 640502"/>
              <a:gd name="connsiteX3" fmla="*/ 0 w 1995342"/>
              <a:gd name="connsiteY3" fmla="*/ 640502 h 640502"/>
              <a:gd name="connsiteX4" fmla="*/ 0 w 1995342"/>
              <a:gd name="connsiteY4" fmla="*/ 0 h 640502"/>
              <a:gd name="connsiteX0" fmla="*/ 0 w 1995342"/>
              <a:gd name="connsiteY0" fmla="*/ 0 h 640502"/>
              <a:gd name="connsiteX1" fmla="*/ 1441528 w 1995342"/>
              <a:gd name="connsiteY1" fmla="*/ 1765 h 640502"/>
              <a:gd name="connsiteX2" fmla="*/ 1995342 w 1995342"/>
              <a:gd name="connsiteY2" fmla="*/ 640502 h 640502"/>
              <a:gd name="connsiteX3" fmla="*/ 0 w 1995342"/>
              <a:gd name="connsiteY3" fmla="*/ 640502 h 640502"/>
              <a:gd name="connsiteX4" fmla="*/ 0 w 1995342"/>
              <a:gd name="connsiteY4" fmla="*/ 0 h 640502"/>
              <a:gd name="connsiteX0" fmla="*/ 0 w 1995342"/>
              <a:gd name="connsiteY0" fmla="*/ 0 h 640502"/>
              <a:gd name="connsiteX1" fmla="*/ 1442591 w 1995342"/>
              <a:gd name="connsiteY1" fmla="*/ 882 h 640502"/>
              <a:gd name="connsiteX2" fmla="*/ 1995342 w 1995342"/>
              <a:gd name="connsiteY2" fmla="*/ 640502 h 640502"/>
              <a:gd name="connsiteX3" fmla="*/ 0 w 1995342"/>
              <a:gd name="connsiteY3" fmla="*/ 640502 h 640502"/>
              <a:gd name="connsiteX4" fmla="*/ 0 w 1995342"/>
              <a:gd name="connsiteY4" fmla="*/ 0 h 6405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95342" h="640502">
                <a:moveTo>
                  <a:pt x="0" y="0"/>
                </a:moveTo>
                <a:lnTo>
                  <a:pt x="1442591" y="882"/>
                </a:lnTo>
                <a:lnTo>
                  <a:pt x="1995342" y="640502"/>
                </a:lnTo>
                <a:lnTo>
                  <a:pt x="0" y="640502"/>
                </a:lnTo>
                <a:lnTo>
                  <a:pt x="0" y="0"/>
                </a:lnTo>
                <a:close/>
              </a:path>
            </a:pathLst>
          </a:custGeom>
          <a:ln>
            <a:noFill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sz="1100" dirty="0"/>
          </a:p>
        </p:txBody>
      </p:sp>
    </p:spTree>
    <p:extLst>
      <p:ext uri="{BB962C8B-B14F-4D97-AF65-F5344CB8AC3E}">
        <p14:creationId xmlns:p14="http://schemas.microsoft.com/office/powerpoint/2010/main" val="1794574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828586" y="2749204"/>
            <a:ext cx="10353762" cy="2459421"/>
          </a:xfrm>
        </p:spPr>
        <p:txBody>
          <a:bodyPr>
            <a:normAutofit fontScale="90000"/>
          </a:bodyPr>
          <a:lstStyle/>
          <a:p>
            <a:pPr algn="ctr"/>
            <a:r>
              <a:rPr lang="en-US" dirty="0" smtClean="0">
                <a:latin typeface="+mn-lt"/>
              </a:rPr>
              <a:t>This year we propose a focus on</a:t>
            </a:r>
            <a:br>
              <a:rPr lang="en-US" dirty="0" smtClean="0">
                <a:latin typeface="+mn-lt"/>
              </a:rPr>
            </a:br>
            <a:r>
              <a:rPr lang="en-US" dirty="0">
                <a:latin typeface="+mn-lt"/>
              </a:rPr>
              <a:t/>
            </a:r>
            <a:br>
              <a:rPr lang="en-US" dirty="0">
                <a:latin typeface="+mn-lt"/>
              </a:rPr>
            </a:br>
            <a:r>
              <a:rPr lang="en-US" dirty="0" smtClean="0">
                <a:latin typeface="+mn-lt"/>
              </a:rPr>
              <a:t>“Recovery with Equity”</a:t>
            </a:r>
            <a:br>
              <a:rPr lang="en-US" dirty="0" smtClean="0">
                <a:latin typeface="+mn-lt"/>
              </a:rPr>
            </a:br>
            <a:r>
              <a:rPr lang="en-US" dirty="0">
                <a:latin typeface="+mn-lt"/>
              </a:rPr>
              <a:t/>
            </a:r>
            <a:br>
              <a:rPr lang="en-US" dirty="0">
                <a:latin typeface="+mn-lt"/>
              </a:rPr>
            </a:br>
            <a:r>
              <a:rPr lang="en-US" dirty="0" smtClean="0">
                <a:latin typeface="+mn-lt"/>
              </a:rPr>
              <a:t>that, with equity and antiracism as our overarching priority, builds on and helps fully implement our existing strategic initiatives</a:t>
            </a:r>
            <a:endParaRPr lang="en-US" dirty="0">
              <a:latin typeface="+mn-lt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BF518A3A-ECE0-42A2-BD7B-43096BD7B6FA}"/>
              </a:ext>
            </a:extLst>
          </p:cNvPr>
          <p:cNvSpPr/>
          <p:nvPr/>
        </p:nvSpPr>
        <p:spPr>
          <a:xfrm>
            <a:off x="366852" y="228614"/>
            <a:ext cx="11458296" cy="690843"/>
          </a:xfrm>
          <a:prstGeom prst="rect">
            <a:avLst/>
          </a:prstGeom>
          <a:solidFill>
            <a:srgbClr val="006633"/>
          </a:solidFill>
          <a:ln>
            <a:noFill/>
          </a:ln>
          <a:effectLst/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/>
          </a:p>
        </p:txBody>
      </p:sp>
      <p:sp>
        <p:nvSpPr>
          <p:cNvPr id="6" name="Title 1"/>
          <p:cNvSpPr txBox="1">
            <a:spLocks/>
          </p:cNvSpPr>
          <p:nvPr/>
        </p:nvSpPr>
        <p:spPr>
          <a:xfrm>
            <a:off x="733704" y="323024"/>
            <a:ext cx="10515600" cy="528108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0000"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sz="3600" b="1" dirty="0" smtClean="0">
                <a:solidFill>
                  <a:schemeClr val="bg1"/>
                </a:solidFill>
                <a:effectLst>
                  <a:outerShdw blurRad="50800" dist="50800" dir="5400000" algn="ctr" rotWithShape="0">
                    <a:srgbClr val="000000">
                      <a:alpha val="43137"/>
                    </a:srgbClr>
                  </a:outerShdw>
                </a:effectLst>
                <a:latin typeface="Franklin Gothic Book" panose="020B0503020102020204" pitchFamily="34" charset="0"/>
              </a:rPr>
              <a:t>Leadership Retreat Report Out</a:t>
            </a:r>
            <a:endParaRPr lang="en-US" sz="3600" b="1" dirty="0">
              <a:solidFill>
                <a:schemeClr val="bg1"/>
              </a:solidFill>
              <a:effectLst>
                <a:outerShdw blurRad="50800" dist="50800" dir="5400000" algn="ctr" rotWithShape="0">
                  <a:srgbClr val="000000">
                    <a:alpha val="43137"/>
                  </a:srgbClr>
                </a:outerShdw>
              </a:effectLst>
              <a:latin typeface="Franklin Gothic Book" panose="020B0503020102020204" pitchFamily="34" charset="0"/>
            </a:endParaRPr>
          </a:p>
        </p:txBody>
      </p:sp>
      <p:sp>
        <p:nvSpPr>
          <p:cNvPr id="7" name="Rectangle 9">
            <a:extLst>
              <a:ext uri="{FF2B5EF4-FFF2-40B4-BE49-F238E27FC236}">
                <a16:creationId xmlns:a16="http://schemas.microsoft.com/office/drawing/2014/main" id="{29C5912D-DD36-465B-BD92-BB0220505875}"/>
              </a:ext>
            </a:extLst>
          </p:cNvPr>
          <p:cNvSpPr/>
          <p:nvPr/>
        </p:nvSpPr>
        <p:spPr>
          <a:xfrm rot="10800000" flipH="1">
            <a:off x="366852" y="228614"/>
            <a:ext cx="1788160" cy="690775"/>
          </a:xfrm>
          <a:custGeom>
            <a:avLst/>
            <a:gdLst>
              <a:gd name="connsiteX0" fmla="*/ 0 w 1995342"/>
              <a:gd name="connsiteY0" fmla="*/ 0 h 690843"/>
              <a:gd name="connsiteX1" fmla="*/ 1995342 w 1995342"/>
              <a:gd name="connsiteY1" fmla="*/ 0 h 690843"/>
              <a:gd name="connsiteX2" fmla="*/ 1995342 w 1995342"/>
              <a:gd name="connsiteY2" fmla="*/ 690843 h 690843"/>
              <a:gd name="connsiteX3" fmla="*/ 0 w 1995342"/>
              <a:gd name="connsiteY3" fmla="*/ 690843 h 690843"/>
              <a:gd name="connsiteX4" fmla="*/ 0 w 1995342"/>
              <a:gd name="connsiteY4" fmla="*/ 0 h 690843"/>
              <a:gd name="connsiteX0" fmla="*/ 0 w 1995342"/>
              <a:gd name="connsiteY0" fmla="*/ 0 h 690843"/>
              <a:gd name="connsiteX1" fmla="*/ 1375630 w 1995342"/>
              <a:gd name="connsiteY1" fmla="*/ 0 h 690843"/>
              <a:gd name="connsiteX2" fmla="*/ 1995342 w 1995342"/>
              <a:gd name="connsiteY2" fmla="*/ 690843 h 690843"/>
              <a:gd name="connsiteX3" fmla="*/ 0 w 1995342"/>
              <a:gd name="connsiteY3" fmla="*/ 690843 h 690843"/>
              <a:gd name="connsiteX4" fmla="*/ 0 w 1995342"/>
              <a:gd name="connsiteY4" fmla="*/ 0 h 690843"/>
              <a:gd name="connsiteX0" fmla="*/ 0 w 1995342"/>
              <a:gd name="connsiteY0" fmla="*/ 0 h 690843"/>
              <a:gd name="connsiteX1" fmla="*/ 1427711 w 1995342"/>
              <a:gd name="connsiteY1" fmla="*/ 53873 h 690843"/>
              <a:gd name="connsiteX2" fmla="*/ 1995342 w 1995342"/>
              <a:gd name="connsiteY2" fmla="*/ 690843 h 690843"/>
              <a:gd name="connsiteX3" fmla="*/ 0 w 1995342"/>
              <a:gd name="connsiteY3" fmla="*/ 690843 h 690843"/>
              <a:gd name="connsiteX4" fmla="*/ 0 w 1995342"/>
              <a:gd name="connsiteY4" fmla="*/ 0 h 690843"/>
              <a:gd name="connsiteX0" fmla="*/ 26571 w 1995342"/>
              <a:gd name="connsiteY0" fmla="*/ 15898 h 636970"/>
              <a:gd name="connsiteX1" fmla="*/ 1427711 w 1995342"/>
              <a:gd name="connsiteY1" fmla="*/ 0 h 636970"/>
              <a:gd name="connsiteX2" fmla="*/ 1995342 w 1995342"/>
              <a:gd name="connsiteY2" fmla="*/ 636970 h 636970"/>
              <a:gd name="connsiteX3" fmla="*/ 0 w 1995342"/>
              <a:gd name="connsiteY3" fmla="*/ 636970 h 636970"/>
              <a:gd name="connsiteX4" fmla="*/ 26571 w 1995342"/>
              <a:gd name="connsiteY4" fmla="*/ 15898 h 636970"/>
              <a:gd name="connsiteX0" fmla="*/ 0 w 1995342"/>
              <a:gd name="connsiteY0" fmla="*/ 0 h 640502"/>
              <a:gd name="connsiteX1" fmla="*/ 1427711 w 1995342"/>
              <a:gd name="connsiteY1" fmla="*/ 3532 h 640502"/>
              <a:gd name="connsiteX2" fmla="*/ 1995342 w 1995342"/>
              <a:gd name="connsiteY2" fmla="*/ 640502 h 640502"/>
              <a:gd name="connsiteX3" fmla="*/ 0 w 1995342"/>
              <a:gd name="connsiteY3" fmla="*/ 640502 h 640502"/>
              <a:gd name="connsiteX4" fmla="*/ 0 w 1995342"/>
              <a:gd name="connsiteY4" fmla="*/ 0 h 640502"/>
              <a:gd name="connsiteX0" fmla="*/ 0 w 1995342"/>
              <a:gd name="connsiteY0" fmla="*/ 0 h 640502"/>
              <a:gd name="connsiteX1" fmla="*/ 1420271 w 1995342"/>
              <a:gd name="connsiteY1" fmla="*/ 1765 h 640502"/>
              <a:gd name="connsiteX2" fmla="*/ 1995342 w 1995342"/>
              <a:gd name="connsiteY2" fmla="*/ 640502 h 640502"/>
              <a:gd name="connsiteX3" fmla="*/ 0 w 1995342"/>
              <a:gd name="connsiteY3" fmla="*/ 640502 h 640502"/>
              <a:gd name="connsiteX4" fmla="*/ 0 w 1995342"/>
              <a:gd name="connsiteY4" fmla="*/ 0 h 640502"/>
              <a:gd name="connsiteX0" fmla="*/ 0 w 1995342"/>
              <a:gd name="connsiteY0" fmla="*/ 0 h 640502"/>
              <a:gd name="connsiteX1" fmla="*/ 1439402 w 1995342"/>
              <a:gd name="connsiteY1" fmla="*/ 3532 h 640502"/>
              <a:gd name="connsiteX2" fmla="*/ 1995342 w 1995342"/>
              <a:gd name="connsiteY2" fmla="*/ 640502 h 640502"/>
              <a:gd name="connsiteX3" fmla="*/ 0 w 1995342"/>
              <a:gd name="connsiteY3" fmla="*/ 640502 h 640502"/>
              <a:gd name="connsiteX4" fmla="*/ 0 w 1995342"/>
              <a:gd name="connsiteY4" fmla="*/ 0 h 640502"/>
              <a:gd name="connsiteX0" fmla="*/ 0 w 1995342"/>
              <a:gd name="connsiteY0" fmla="*/ 0 h 640502"/>
              <a:gd name="connsiteX1" fmla="*/ 1441528 w 1995342"/>
              <a:gd name="connsiteY1" fmla="*/ 1765 h 640502"/>
              <a:gd name="connsiteX2" fmla="*/ 1995342 w 1995342"/>
              <a:gd name="connsiteY2" fmla="*/ 640502 h 640502"/>
              <a:gd name="connsiteX3" fmla="*/ 0 w 1995342"/>
              <a:gd name="connsiteY3" fmla="*/ 640502 h 640502"/>
              <a:gd name="connsiteX4" fmla="*/ 0 w 1995342"/>
              <a:gd name="connsiteY4" fmla="*/ 0 h 640502"/>
              <a:gd name="connsiteX0" fmla="*/ 0 w 1995342"/>
              <a:gd name="connsiteY0" fmla="*/ 0 h 640502"/>
              <a:gd name="connsiteX1" fmla="*/ 1442591 w 1995342"/>
              <a:gd name="connsiteY1" fmla="*/ 882 h 640502"/>
              <a:gd name="connsiteX2" fmla="*/ 1995342 w 1995342"/>
              <a:gd name="connsiteY2" fmla="*/ 640502 h 640502"/>
              <a:gd name="connsiteX3" fmla="*/ 0 w 1995342"/>
              <a:gd name="connsiteY3" fmla="*/ 640502 h 640502"/>
              <a:gd name="connsiteX4" fmla="*/ 0 w 1995342"/>
              <a:gd name="connsiteY4" fmla="*/ 0 h 6405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95342" h="640502">
                <a:moveTo>
                  <a:pt x="0" y="0"/>
                </a:moveTo>
                <a:lnTo>
                  <a:pt x="1442591" y="882"/>
                </a:lnTo>
                <a:lnTo>
                  <a:pt x="1995342" y="640502"/>
                </a:lnTo>
                <a:lnTo>
                  <a:pt x="0" y="640502"/>
                </a:lnTo>
                <a:lnTo>
                  <a:pt x="0" y="0"/>
                </a:lnTo>
                <a:close/>
              </a:path>
            </a:pathLst>
          </a:custGeom>
          <a:ln>
            <a:noFill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sz="1100" dirty="0"/>
          </a:p>
        </p:txBody>
      </p:sp>
    </p:spTree>
    <p:extLst>
      <p:ext uri="{BB962C8B-B14F-4D97-AF65-F5344CB8AC3E}">
        <p14:creationId xmlns:p14="http://schemas.microsoft.com/office/powerpoint/2010/main" val="9938096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5977217" y="3244334"/>
            <a:ext cx="23756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/>
              <a:t> </a:t>
            </a:r>
          </a:p>
        </p:txBody>
      </p:sp>
      <p:graphicFrame>
        <p:nvGraphicFramePr>
          <p:cNvPr id="8" name="Diagram 7"/>
          <p:cNvGraphicFramePr/>
          <p:nvPr>
            <p:extLst>
              <p:ext uri="{D42A27DB-BD31-4B8C-83A1-F6EECF244321}">
                <p14:modId xmlns:p14="http://schemas.microsoft.com/office/powerpoint/2010/main" val="4249659804"/>
              </p:ext>
            </p:extLst>
          </p:nvPr>
        </p:nvGraphicFramePr>
        <p:xfrm>
          <a:off x="567559" y="1072055"/>
          <a:ext cx="11466786" cy="561252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9" name="Title 3"/>
          <p:cNvSpPr>
            <a:spLocks noGrp="1"/>
          </p:cNvSpPr>
          <p:nvPr>
            <p:ph type="title"/>
          </p:nvPr>
        </p:nvSpPr>
        <p:spPr>
          <a:xfrm>
            <a:off x="1081958" y="182437"/>
            <a:ext cx="4250163" cy="970450"/>
          </a:xfrm>
        </p:spPr>
        <p:txBody>
          <a:bodyPr>
            <a:normAutofit/>
          </a:bodyPr>
          <a:lstStyle/>
          <a:p>
            <a:r>
              <a:rPr lang="en-US" sz="3200" dirty="0" smtClean="0">
                <a:latin typeface="Franklin Gothic Book" panose="020B0503020102020204" pitchFamily="34" charset="0"/>
              </a:rPr>
              <a:t>Proposed priority…</a:t>
            </a:r>
            <a:endParaRPr lang="en-US" sz="3200" dirty="0">
              <a:latin typeface="Franklin Gothic Book" panose="020B0503020102020204" pitchFamily="34" charset="0"/>
            </a:endParaRPr>
          </a:p>
        </p:txBody>
      </p:sp>
      <p:sp>
        <p:nvSpPr>
          <p:cNvPr id="10" name="Title 3"/>
          <p:cNvSpPr txBox="1">
            <a:spLocks/>
          </p:cNvSpPr>
          <p:nvPr/>
        </p:nvSpPr>
        <p:spPr>
          <a:xfrm>
            <a:off x="4639711" y="101605"/>
            <a:ext cx="3836881" cy="970450"/>
          </a:xfrm>
          <a:prstGeom prst="rect">
            <a:avLst/>
          </a:prstGeom>
          <a:effectLst>
            <a:outerShdw blurRad="25400" dir="17880000">
              <a:srgbClr val="000000">
                <a:alpha val="46000"/>
              </a:srgbClr>
            </a:outerShdw>
          </a:effectLst>
        </p:spPr>
        <p:txBody>
          <a:bodyPr vert="horz" lIns="91440" tIns="45720" rIns="91440" bIns="45720" rtlCol="0" anchor="ctr">
            <a:normAutofit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000" kern="1200">
                <a:ln>
                  <a:solidFill>
                    <a:schemeClr val="bg1">
                      <a:lumMod val="75000"/>
                      <a:lumOff val="25000"/>
                      <a:alpha val="10000"/>
                    </a:schemeClr>
                  </a:solidFill>
                </a:ln>
                <a:solidFill>
                  <a:schemeClr val="tx2"/>
                </a:solidFill>
                <a:effectLst>
                  <a:outerShdw blurRad="9525" dist="25400" dir="14640000" algn="tl" rotWithShape="0">
                    <a:schemeClr val="bg1">
                      <a:alpha val="30000"/>
                    </a:schemeClr>
                  </a:outerShdw>
                </a:effectLst>
                <a:latin typeface="+mj-lt"/>
                <a:ea typeface="+mj-ea"/>
                <a:cs typeface="Trebuchet M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endParaRPr lang="en-US" dirty="0"/>
          </a:p>
        </p:txBody>
      </p:sp>
      <p:sp>
        <p:nvSpPr>
          <p:cNvPr id="11" name="Title 3"/>
          <p:cNvSpPr txBox="1">
            <a:spLocks/>
          </p:cNvSpPr>
          <p:nvPr/>
        </p:nvSpPr>
        <p:spPr>
          <a:xfrm>
            <a:off x="4213437" y="173421"/>
            <a:ext cx="7660323" cy="970450"/>
          </a:xfrm>
          <a:prstGeom prst="rect">
            <a:avLst/>
          </a:prstGeom>
          <a:effectLst>
            <a:outerShdw blurRad="25400" dir="17880000">
              <a:srgbClr val="000000">
                <a:alpha val="46000"/>
              </a:srgbClr>
            </a:outerShdw>
          </a:effectLst>
        </p:spPr>
        <p:txBody>
          <a:bodyPr vert="horz" lIns="91440" tIns="45720" rIns="91440" bIns="45720" rtlCol="0" anchor="ctr">
            <a:noAutofit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000" kern="1200">
                <a:ln>
                  <a:solidFill>
                    <a:schemeClr val="bg1">
                      <a:lumMod val="75000"/>
                      <a:lumOff val="25000"/>
                      <a:alpha val="10000"/>
                    </a:schemeClr>
                  </a:solidFill>
                </a:ln>
                <a:solidFill>
                  <a:schemeClr val="tx2"/>
                </a:solidFill>
                <a:effectLst>
                  <a:outerShdw blurRad="9525" dist="25400" dir="14640000" algn="tl" rotWithShape="0">
                    <a:schemeClr val="bg1">
                      <a:alpha val="30000"/>
                    </a:schemeClr>
                  </a:outerShdw>
                </a:effectLst>
                <a:latin typeface="+mj-lt"/>
                <a:ea typeface="+mj-ea"/>
                <a:cs typeface="Trebuchet M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r>
              <a:rPr lang="en-US" sz="3200" dirty="0">
                <a:solidFill>
                  <a:schemeClr val="tx1"/>
                </a:solidFill>
                <a:latin typeface="Franklin Gothic Book" panose="020B0503020102020204" pitchFamily="34" charset="0"/>
                <a:cs typeface="+mj-cs"/>
              </a:rPr>
              <a:t>supports these EMP strategic initiatives</a:t>
            </a:r>
          </a:p>
        </p:txBody>
      </p:sp>
      <p:sp>
        <p:nvSpPr>
          <p:cNvPr id="12" name="7-Point Star 11"/>
          <p:cNvSpPr/>
          <p:nvPr/>
        </p:nvSpPr>
        <p:spPr>
          <a:xfrm>
            <a:off x="10300138" y="1219200"/>
            <a:ext cx="1573622" cy="1439917"/>
          </a:xfrm>
          <a:prstGeom prst="star7">
            <a:avLst/>
          </a:prstGeom>
          <a:solidFill>
            <a:srgbClr val="006633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EMP Goal 3</a:t>
            </a:r>
            <a:endParaRPr lang="en-US" dirty="0"/>
          </a:p>
        </p:txBody>
      </p:sp>
      <p:sp>
        <p:nvSpPr>
          <p:cNvPr id="13" name="7-Point Star 12"/>
          <p:cNvSpPr/>
          <p:nvPr/>
        </p:nvSpPr>
        <p:spPr>
          <a:xfrm>
            <a:off x="10300138" y="3158358"/>
            <a:ext cx="1573622" cy="1439917"/>
          </a:xfrm>
          <a:prstGeom prst="star7">
            <a:avLst/>
          </a:prstGeom>
          <a:solidFill>
            <a:srgbClr val="006633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EMP Goals 1,2,3</a:t>
            </a:r>
            <a:endParaRPr lang="en-US" dirty="0"/>
          </a:p>
        </p:txBody>
      </p:sp>
      <p:sp>
        <p:nvSpPr>
          <p:cNvPr id="14" name="7-Point Star 13"/>
          <p:cNvSpPr/>
          <p:nvPr/>
        </p:nvSpPr>
        <p:spPr>
          <a:xfrm>
            <a:off x="10300138" y="5018689"/>
            <a:ext cx="1573622" cy="1439917"/>
          </a:xfrm>
          <a:prstGeom prst="star7">
            <a:avLst/>
          </a:prstGeom>
          <a:solidFill>
            <a:srgbClr val="006633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EMP Goals</a:t>
            </a:r>
          </a:p>
          <a:p>
            <a:pPr algn="ctr"/>
            <a:r>
              <a:rPr lang="en-US" dirty="0" smtClean="0"/>
              <a:t> 1 &amp; 3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479162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913795" y="1980542"/>
            <a:ext cx="10335509" cy="4246087"/>
          </a:xfrm>
        </p:spPr>
        <p:txBody>
          <a:bodyPr>
            <a:normAutofit fontScale="47500" lnSpcReduction="20000"/>
          </a:bodyPr>
          <a:lstStyle/>
          <a:p>
            <a:pPr lvl="0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</a:pPr>
            <a:r>
              <a:rPr lang="en-US" sz="4400" b="1" dirty="0">
                <a:effectLst/>
              </a:rPr>
              <a:t>PRIORITY ACTION 1</a:t>
            </a:r>
            <a:r>
              <a:rPr lang="en-US" sz="4400" dirty="0">
                <a:effectLst/>
              </a:rPr>
              <a:t>: Address diversification of faculty and staff hiring practices that recognize both traditional and nontraditional experiences and qualifications </a:t>
            </a:r>
            <a:r>
              <a:rPr lang="en-US" sz="4400" dirty="0" smtClean="0">
                <a:effectLst/>
              </a:rPr>
              <a:t>and reach out to a broader pool of applicants to ensure </a:t>
            </a:r>
            <a:r>
              <a:rPr lang="en-US" sz="4400" dirty="0">
                <a:effectLst/>
              </a:rPr>
              <a:t>a diverse pool of faculty and staff applicants. </a:t>
            </a:r>
          </a:p>
          <a:p>
            <a:pPr lvl="0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</a:pPr>
            <a:r>
              <a:rPr lang="en-US" sz="4400" b="1" dirty="0">
                <a:effectLst/>
              </a:rPr>
              <a:t>PRIORITY ACTION </a:t>
            </a:r>
            <a:r>
              <a:rPr lang="en-US" sz="4400" b="1" dirty="0" smtClean="0">
                <a:effectLst/>
              </a:rPr>
              <a:t>2</a:t>
            </a:r>
            <a:r>
              <a:rPr lang="en-US" sz="4400" dirty="0" smtClean="0">
                <a:effectLst/>
              </a:rPr>
              <a:t>: </a:t>
            </a:r>
            <a:r>
              <a:rPr lang="en-US" sz="4400" dirty="0">
                <a:effectLst/>
              </a:rPr>
              <a:t>Support faculty to re-envision </a:t>
            </a:r>
            <a:r>
              <a:rPr lang="en-US" sz="4400" dirty="0" smtClean="0">
                <a:effectLst/>
              </a:rPr>
              <a:t>curricula and pedagogy across </a:t>
            </a:r>
            <a:r>
              <a:rPr lang="en-US" sz="4400" dirty="0">
                <a:effectLst/>
              </a:rPr>
              <a:t>disciplines to be antiracist and equity-centered in order to support diverse students in the classroom.</a:t>
            </a:r>
          </a:p>
          <a:p>
            <a:pPr lvl="0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</a:pPr>
            <a:r>
              <a:rPr lang="en-US" sz="4400" b="1" dirty="0">
                <a:effectLst/>
              </a:rPr>
              <a:t>PRIORITY ACTION 3</a:t>
            </a:r>
            <a:r>
              <a:rPr lang="en-US" sz="4400" dirty="0">
                <a:effectLst/>
              </a:rPr>
              <a:t>: Create an Equity and Antiracism Leadership Group to help monitor and support the implementation of the Antiracism </a:t>
            </a:r>
            <a:r>
              <a:rPr lang="en-US" sz="4400" dirty="0" smtClean="0">
                <a:effectLst/>
              </a:rPr>
              <a:t>Task Force </a:t>
            </a:r>
            <a:r>
              <a:rPr lang="en-US" sz="4400" dirty="0">
                <a:effectLst/>
              </a:rPr>
              <a:t>and Cultural Center focus group’s </a:t>
            </a:r>
            <a:r>
              <a:rPr lang="en-US" sz="4400" dirty="0" smtClean="0">
                <a:effectLst/>
              </a:rPr>
              <a:t>recommendations and to remove barriers to students’ registration </a:t>
            </a:r>
            <a:r>
              <a:rPr lang="en-US" sz="4400" dirty="0">
                <a:effectLst/>
              </a:rPr>
              <a:t>and enrollment, with a strong emphasis on BIPOC, LGBTQIA+, low income, disabled, undocumented and historically marginalized/</a:t>
            </a:r>
            <a:r>
              <a:rPr lang="en-US" sz="4400" dirty="0" err="1">
                <a:effectLst/>
              </a:rPr>
              <a:t>minoritized</a:t>
            </a:r>
            <a:r>
              <a:rPr lang="en-US" sz="4400" dirty="0">
                <a:effectLst/>
              </a:rPr>
              <a:t> </a:t>
            </a:r>
            <a:r>
              <a:rPr lang="en-US" sz="4400" dirty="0" smtClean="0">
                <a:effectLst/>
              </a:rPr>
              <a:t>students.</a:t>
            </a:r>
            <a:endParaRPr lang="en-US" sz="4400" dirty="0">
              <a:effectLst/>
            </a:endParaRPr>
          </a:p>
          <a:p>
            <a:pPr lvl="0"/>
            <a:endParaRPr lang="en-US" dirty="0">
              <a:effectLst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BF518A3A-ECE0-42A2-BD7B-43096BD7B6FA}"/>
              </a:ext>
            </a:extLst>
          </p:cNvPr>
          <p:cNvSpPr/>
          <p:nvPr/>
        </p:nvSpPr>
        <p:spPr>
          <a:xfrm>
            <a:off x="366852" y="228614"/>
            <a:ext cx="11458296" cy="690843"/>
          </a:xfrm>
          <a:prstGeom prst="rect">
            <a:avLst/>
          </a:prstGeom>
          <a:solidFill>
            <a:srgbClr val="006633"/>
          </a:solidFill>
          <a:ln>
            <a:noFill/>
          </a:ln>
          <a:effectLst/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/>
          </a:p>
        </p:txBody>
      </p:sp>
      <p:sp>
        <p:nvSpPr>
          <p:cNvPr id="6" name="Rectangle 9">
            <a:extLst>
              <a:ext uri="{FF2B5EF4-FFF2-40B4-BE49-F238E27FC236}">
                <a16:creationId xmlns:a16="http://schemas.microsoft.com/office/drawing/2014/main" id="{29C5912D-DD36-465B-BD92-BB0220505875}"/>
              </a:ext>
            </a:extLst>
          </p:cNvPr>
          <p:cNvSpPr/>
          <p:nvPr/>
        </p:nvSpPr>
        <p:spPr>
          <a:xfrm rot="10800000" flipH="1">
            <a:off x="366852" y="228614"/>
            <a:ext cx="1788160" cy="690775"/>
          </a:xfrm>
          <a:custGeom>
            <a:avLst/>
            <a:gdLst>
              <a:gd name="connsiteX0" fmla="*/ 0 w 1995342"/>
              <a:gd name="connsiteY0" fmla="*/ 0 h 690843"/>
              <a:gd name="connsiteX1" fmla="*/ 1995342 w 1995342"/>
              <a:gd name="connsiteY1" fmla="*/ 0 h 690843"/>
              <a:gd name="connsiteX2" fmla="*/ 1995342 w 1995342"/>
              <a:gd name="connsiteY2" fmla="*/ 690843 h 690843"/>
              <a:gd name="connsiteX3" fmla="*/ 0 w 1995342"/>
              <a:gd name="connsiteY3" fmla="*/ 690843 h 690843"/>
              <a:gd name="connsiteX4" fmla="*/ 0 w 1995342"/>
              <a:gd name="connsiteY4" fmla="*/ 0 h 690843"/>
              <a:gd name="connsiteX0" fmla="*/ 0 w 1995342"/>
              <a:gd name="connsiteY0" fmla="*/ 0 h 690843"/>
              <a:gd name="connsiteX1" fmla="*/ 1375630 w 1995342"/>
              <a:gd name="connsiteY1" fmla="*/ 0 h 690843"/>
              <a:gd name="connsiteX2" fmla="*/ 1995342 w 1995342"/>
              <a:gd name="connsiteY2" fmla="*/ 690843 h 690843"/>
              <a:gd name="connsiteX3" fmla="*/ 0 w 1995342"/>
              <a:gd name="connsiteY3" fmla="*/ 690843 h 690843"/>
              <a:gd name="connsiteX4" fmla="*/ 0 w 1995342"/>
              <a:gd name="connsiteY4" fmla="*/ 0 h 690843"/>
              <a:gd name="connsiteX0" fmla="*/ 0 w 1995342"/>
              <a:gd name="connsiteY0" fmla="*/ 0 h 690843"/>
              <a:gd name="connsiteX1" fmla="*/ 1427711 w 1995342"/>
              <a:gd name="connsiteY1" fmla="*/ 53873 h 690843"/>
              <a:gd name="connsiteX2" fmla="*/ 1995342 w 1995342"/>
              <a:gd name="connsiteY2" fmla="*/ 690843 h 690843"/>
              <a:gd name="connsiteX3" fmla="*/ 0 w 1995342"/>
              <a:gd name="connsiteY3" fmla="*/ 690843 h 690843"/>
              <a:gd name="connsiteX4" fmla="*/ 0 w 1995342"/>
              <a:gd name="connsiteY4" fmla="*/ 0 h 690843"/>
              <a:gd name="connsiteX0" fmla="*/ 26571 w 1995342"/>
              <a:gd name="connsiteY0" fmla="*/ 15898 h 636970"/>
              <a:gd name="connsiteX1" fmla="*/ 1427711 w 1995342"/>
              <a:gd name="connsiteY1" fmla="*/ 0 h 636970"/>
              <a:gd name="connsiteX2" fmla="*/ 1995342 w 1995342"/>
              <a:gd name="connsiteY2" fmla="*/ 636970 h 636970"/>
              <a:gd name="connsiteX3" fmla="*/ 0 w 1995342"/>
              <a:gd name="connsiteY3" fmla="*/ 636970 h 636970"/>
              <a:gd name="connsiteX4" fmla="*/ 26571 w 1995342"/>
              <a:gd name="connsiteY4" fmla="*/ 15898 h 636970"/>
              <a:gd name="connsiteX0" fmla="*/ 0 w 1995342"/>
              <a:gd name="connsiteY0" fmla="*/ 0 h 640502"/>
              <a:gd name="connsiteX1" fmla="*/ 1427711 w 1995342"/>
              <a:gd name="connsiteY1" fmla="*/ 3532 h 640502"/>
              <a:gd name="connsiteX2" fmla="*/ 1995342 w 1995342"/>
              <a:gd name="connsiteY2" fmla="*/ 640502 h 640502"/>
              <a:gd name="connsiteX3" fmla="*/ 0 w 1995342"/>
              <a:gd name="connsiteY3" fmla="*/ 640502 h 640502"/>
              <a:gd name="connsiteX4" fmla="*/ 0 w 1995342"/>
              <a:gd name="connsiteY4" fmla="*/ 0 h 640502"/>
              <a:gd name="connsiteX0" fmla="*/ 0 w 1995342"/>
              <a:gd name="connsiteY0" fmla="*/ 0 h 640502"/>
              <a:gd name="connsiteX1" fmla="*/ 1420271 w 1995342"/>
              <a:gd name="connsiteY1" fmla="*/ 1765 h 640502"/>
              <a:gd name="connsiteX2" fmla="*/ 1995342 w 1995342"/>
              <a:gd name="connsiteY2" fmla="*/ 640502 h 640502"/>
              <a:gd name="connsiteX3" fmla="*/ 0 w 1995342"/>
              <a:gd name="connsiteY3" fmla="*/ 640502 h 640502"/>
              <a:gd name="connsiteX4" fmla="*/ 0 w 1995342"/>
              <a:gd name="connsiteY4" fmla="*/ 0 h 640502"/>
              <a:gd name="connsiteX0" fmla="*/ 0 w 1995342"/>
              <a:gd name="connsiteY0" fmla="*/ 0 h 640502"/>
              <a:gd name="connsiteX1" fmla="*/ 1439402 w 1995342"/>
              <a:gd name="connsiteY1" fmla="*/ 3532 h 640502"/>
              <a:gd name="connsiteX2" fmla="*/ 1995342 w 1995342"/>
              <a:gd name="connsiteY2" fmla="*/ 640502 h 640502"/>
              <a:gd name="connsiteX3" fmla="*/ 0 w 1995342"/>
              <a:gd name="connsiteY3" fmla="*/ 640502 h 640502"/>
              <a:gd name="connsiteX4" fmla="*/ 0 w 1995342"/>
              <a:gd name="connsiteY4" fmla="*/ 0 h 640502"/>
              <a:gd name="connsiteX0" fmla="*/ 0 w 1995342"/>
              <a:gd name="connsiteY0" fmla="*/ 0 h 640502"/>
              <a:gd name="connsiteX1" fmla="*/ 1441528 w 1995342"/>
              <a:gd name="connsiteY1" fmla="*/ 1765 h 640502"/>
              <a:gd name="connsiteX2" fmla="*/ 1995342 w 1995342"/>
              <a:gd name="connsiteY2" fmla="*/ 640502 h 640502"/>
              <a:gd name="connsiteX3" fmla="*/ 0 w 1995342"/>
              <a:gd name="connsiteY3" fmla="*/ 640502 h 640502"/>
              <a:gd name="connsiteX4" fmla="*/ 0 w 1995342"/>
              <a:gd name="connsiteY4" fmla="*/ 0 h 640502"/>
              <a:gd name="connsiteX0" fmla="*/ 0 w 1995342"/>
              <a:gd name="connsiteY0" fmla="*/ 0 h 640502"/>
              <a:gd name="connsiteX1" fmla="*/ 1442591 w 1995342"/>
              <a:gd name="connsiteY1" fmla="*/ 882 h 640502"/>
              <a:gd name="connsiteX2" fmla="*/ 1995342 w 1995342"/>
              <a:gd name="connsiteY2" fmla="*/ 640502 h 640502"/>
              <a:gd name="connsiteX3" fmla="*/ 0 w 1995342"/>
              <a:gd name="connsiteY3" fmla="*/ 640502 h 640502"/>
              <a:gd name="connsiteX4" fmla="*/ 0 w 1995342"/>
              <a:gd name="connsiteY4" fmla="*/ 0 h 6405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95342" h="640502">
                <a:moveTo>
                  <a:pt x="0" y="0"/>
                </a:moveTo>
                <a:lnTo>
                  <a:pt x="1442591" y="882"/>
                </a:lnTo>
                <a:lnTo>
                  <a:pt x="1995342" y="640502"/>
                </a:lnTo>
                <a:lnTo>
                  <a:pt x="0" y="640502"/>
                </a:lnTo>
                <a:lnTo>
                  <a:pt x="0" y="0"/>
                </a:lnTo>
                <a:close/>
              </a:path>
            </a:pathLst>
          </a:custGeom>
          <a:ln>
            <a:noFill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sz="1100" dirty="0"/>
          </a:p>
        </p:txBody>
      </p:sp>
      <p:sp>
        <p:nvSpPr>
          <p:cNvPr id="5" name="Title 1"/>
          <p:cNvSpPr txBox="1">
            <a:spLocks/>
          </p:cNvSpPr>
          <p:nvPr/>
        </p:nvSpPr>
        <p:spPr>
          <a:xfrm>
            <a:off x="733704" y="323024"/>
            <a:ext cx="10515600" cy="528108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sz="3200" b="1" dirty="0">
                <a:solidFill>
                  <a:schemeClr val="bg1"/>
                </a:solidFill>
                <a:effectLst>
                  <a:outerShdw blurRad="50800" dist="50800" dir="5400000" algn="ctr" rotWithShape="0">
                    <a:srgbClr val="000000">
                      <a:alpha val="43137"/>
                    </a:srgbClr>
                  </a:outerShdw>
                </a:effectLst>
                <a:latin typeface="Franklin Gothic Book" panose="020B0503020102020204" pitchFamily="34" charset="0"/>
              </a:rPr>
              <a:t>Equity and Antiracism: Internal Policies and Processes</a:t>
            </a:r>
          </a:p>
        </p:txBody>
      </p:sp>
    </p:spTree>
    <p:extLst>
      <p:ext uri="{BB962C8B-B14F-4D97-AF65-F5344CB8AC3E}">
        <p14:creationId xmlns:p14="http://schemas.microsoft.com/office/powerpoint/2010/main" val="577863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14623" y="2289391"/>
            <a:ext cx="10353762" cy="4845560"/>
          </a:xfrm>
        </p:spPr>
        <p:txBody>
          <a:bodyPr>
            <a:normAutofit/>
          </a:bodyPr>
          <a:lstStyle/>
          <a:p>
            <a:pPr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r>
              <a:rPr lang="en-US" sz="2100" b="1" dirty="0"/>
              <a:t>PRIORITY ACTION 1</a:t>
            </a:r>
            <a:r>
              <a:rPr lang="en-US" sz="2100" dirty="0"/>
              <a:t>: Fully implement the Success Teams and the ability of lead faculty, retention specialists, counselors and others to ensure all students with a strong emphasis on BIPOC, LGBTQIA+, low income, disabled, undocumented and historically marginalized/</a:t>
            </a:r>
            <a:r>
              <a:rPr lang="en-US" sz="2100" dirty="0" err="1"/>
              <a:t>minoritized</a:t>
            </a:r>
            <a:r>
              <a:rPr lang="en-US" sz="2100" dirty="0"/>
              <a:t> students (communities disproportionately impacted during the pandemic) get consistent support and messaging across special programs and Interest Areas</a:t>
            </a: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r>
              <a:rPr lang="en-US" sz="2100" b="1" dirty="0"/>
              <a:t>PRIORITY ACTION 2</a:t>
            </a:r>
            <a:r>
              <a:rPr lang="en-US" sz="2100" dirty="0"/>
              <a:t>: Reimagine pathways for our part-time students to ensure they feel as connected and supported as full-time students</a:t>
            </a: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r>
              <a:rPr lang="en-US" sz="2100" b="1" dirty="0"/>
              <a:t>PRIORITY ACTION 3:  </a:t>
            </a:r>
            <a:r>
              <a:rPr lang="en-US" sz="2100" dirty="0"/>
              <a:t>Support a variety of student journeys and adopt a student-centered approach to defining access and success.  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BF518A3A-ECE0-42A2-BD7B-43096BD7B6FA}"/>
              </a:ext>
            </a:extLst>
          </p:cNvPr>
          <p:cNvSpPr/>
          <p:nvPr/>
        </p:nvSpPr>
        <p:spPr>
          <a:xfrm>
            <a:off x="366852" y="217727"/>
            <a:ext cx="11458296" cy="1132100"/>
          </a:xfrm>
          <a:prstGeom prst="rect">
            <a:avLst/>
          </a:prstGeom>
          <a:solidFill>
            <a:srgbClr val="006633"/>
          </a:solidFill>
          <a:ln>
            <a:noFill/>
          </a:ln>
          <a:effectLst/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/>
          </a:p>
        </p:txBody>
      </p:sp>
      <p:sp>
        <p:nvSpPr>
          <p:cNvPr id="9" name="Title 1"/>
          <p:cNvSpPr txBox="1">
            <a:spLocks/>
          </p:cNvSpPr>
          <p:nvPr/>
        </p:nvSpPr>
        <p:spPr>
          <a:xfrm>
            <a:off x="733704" y="388337"/>
            <a:ext cx="10515600" cy="961490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0000"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sz="3600" b="1" dirty="0" smtClean="0">
                <a:solidFill>
                  <a:schemeClr val="bg1"/>
                </a:solidFill>
                <a:effectLst>
                  <a:outerShdw blurRad="50800" dist="50800" dir="5400000" algn="ctr" rotWithShape="0">
                    <a:srgbClr val="000000">
                      <a:alpha val="43137"/>
                    </a:srgbClr>
                  </a:outerShdw>
                </a:effectLst>
                <a:latin typeface="Franklin Gothic Book" panose="020B0503020102020204" pitchFamily="34" charset="0"/>
              </a:rPr>
              <a:t>Equity &amp; Antiracism: Guided Pathways</a:t>
            </a:r>
          </a:p>
          <a:p>
            <a:pPr algn="ctr"/>
            <a:r>
              <a:rPr lang="en-US" sz="3600" b="1" dirty="0" smtClean="0">
                <a:solidFill>
                  <a:schemeClr val="bg1"/>
                </a:solidFill>
                <a:effectLst>
                  <a:outerShdw blurRad="50800" dist="50800" dir="5400000" algn="ctr" rotWithShape="0">
                    <a:srgbClr val="000000">
                      <a:alpha val="43137"/>
                    </a:srgbClr>
                  </a:outerShdw>
                </a:effectLst>
                <a:latin typeface="Franklin Gothic Book" panose="020B0503020102020204" pitchFamily="34" charset="0"/>
              </a:rPr>
              <a:t>Creating a sense of belonging and connection</a:t>
            </a:r>
            <a:endParaRPr lang="en-US" sz="3600" b="1" dirty="0">
              <a:solidFill>
                <a:schemeClr val="bg1"/>
              </a:solidFill>
              <a:effectLst>
                <a:outerShdw blurRad="50800" dist="50800" dir="5400000" algn="ctr" rotWithShape="0">
                  <a:srgbClr val="000000">
                    <a:alpha val="43137"/>
                  </a:srgbClr>
                </a:outerShdw>
              </a:effectLst>
              <a:latin typeface="Franklin Gothic Book" panose="020B0503020102020204" pitchFamily="34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29C5912D-DD36-465B-BD92-BB0220505875}"/>
              </a:ext>
            </a:extLst>
          </p:cNvPr>
          <p:cNvSpPr/>
          <p:nvPr/>
        </p:nvSpPr>
        <p:spPr>
          <a:xfrm rot="10800000" flipH="1">
            <a:off x="366852" y="217727"/>
            <a:ext cx="1788160" cy="1132099"/>
          </a:xfrm>
          <a:custGeom>
            <a:avLst/>
            <a:gdLst>
              <a:gd name="connsiteX0" fmla="*/ 0 w 1995342"/>
              <a:gd name="connsiteY0" fmla="*/ 0 h 690843"/>
              <a:gd name="connsiteX1" fmla="*/ 1995342 w 1995342"/>
              <a:gd name="connsiteY1" fmla="*/ 0 h 690843"/>
              <a:gd name="connsiteX2" fmla="*/ 1995342 w 1995342"/>
              <a:gd name="connsiteY2" fmla="*/ 690843 h 690843"/>
              <a:gd name="connsiteX3" fmla="*/ 0 w 1995342"/>
              <a:gd name="connsiteY3" fmla="*/ 690843 h 690843"/>
              <a:gd name="connsiteX4" fmla="*/ 0 w 1995342"/>
              <a:gd name="connsiteY4" fmla="*/ 0 h 690843"/>
              <a:gd name="connsiteX0" fmla="*/ 0 w 1995342"/>
              <a:gd name="connsiteY0" fmla="*/ 0 h 690843"/>
              <a:gd name="connsiteX1" fmla="*/ 1375630 w 1995342"/>
              <a:gd name="connsiteY1" fmla="*/ 0 h 690843"/>
              <a:gd name="connsiteX2" fmla="*/ 1995342 w 1995342"/>
              <a:gd name="connsiteY2" fmla="*/ 690843 h 690843"/>
              <a:gd name="connsiteX3" fmla="*/ 0 w 1995342"/>
              <a:gd name="connsiteY3" fmla="*/ 690843 h 690843"/>
              <a:gd name="connsiteX4" fmla="*/ 0 w 1995342"/>
              <a:gd name="connsiteY4" fmla="*/ 0 h 690843"/>
              <a:gd name="connsiteX0" fmla="*/ 0 w 1995342"/>
              <a:gd name="connsiteY0" fmla="*/ 0 h 690843"/>
              <a:gd name="connsiteX1" fmla="*/ 1427711 w 1995342"/>
              <a:gd name="connsiteY1" fmla="*/ 53873 h 690843"/>
              <a:gd name="connsiteX2" fmla="*/ 1995342 w 1995342"/>
              <a:gd name="connsiteY2" fmla="*/ 690843 h 690843"/>
              <a:gd name="connsiteX3" fmla="*/ 0 w 1995342"/>
              <a:gd name="connsiteY3" fmla="*/ 690843 h 690843"/>
              <a:gd name="connsiteX4" fmla="*/ 0 w 1995342"/>
              <a:gd name="connsiteY4" fmla="*/ 0 h 690843"/>
              <a:gd name="connsiteX0" fmla="*/ 26571 w 1995342"/>
              <a:gd name="connsiteY0" fmla="*/ 15898 h 636970"/>
              <a:gd name="connsiteX1" fmla="*/ 1427711 w 1995342"/>
              <a:gd name="connsiteY1" fmla="*/ 0 h 636970"/>
              <a:gd name="connsiteX2" fmla="*/ 1995342 w 1995342"/>
              <a:gd name="connsiteY2" fmla="*/ 636970 h 636970"/>
              <a:gd name="connsiteX3" fmla="*/ 0 w 1995342"/>
              <a:gd name="connsiteY3" fmla="*/ 636970 h 636970"/>
              <a:gd name="connsiteX4" fmla="*/ 26571 w 1995342"/>
              <a:gd name="connsiteY4" fmla="*/ 15898 h 636970"/>
              <a:gd name="connsiteX0" fmla="*/ 0 w 1995342"/>
              <a:gd name="connsiteY0" fmla="*/ 0 h 640502"/>
              <a:gd name="connsiteX1" fmla="*/ 1427711 w 1995342"/>
              <a:gd name="connsiteY1" fmla="*/ 3532 h 640502"/>
              <a:gd name="connsiteX2" fmla="*/ 1995342 w 1995342"/>
              <a:gd name="connsiteY2" fmla="*/ 640502 h 640502"/>
              <a:gd name="connsiteX3" fmla="*/ 0 w 1995342"/>
              <a:gd name="connsiteY3" fmla="*/ 640502 h 640502"/>
              <a:gd name="connsiteX4" fmla="*/ 0 w 1995342"/>
              <a:gd name="connsiteY4" fmla="*/ 0 h 640502"/>
              <a:gd name="connsiteX0" fmla="*/ 0 w 1995342"/>
              <a:gd name="connsiteY0" fmla="*/ 0 h 640502"/>
              <a:gd name="connsiteX1" fmla="*/ 1420271 w 1995342"/>
              <a:gd name="connsiteY1" fmla="*/ 1765 h 640502"/>
              <a:gd name="connsiteX2" fmla="*/ 1995342 w 1995342"/>
              <a:gd name="connsiteY2" fmla="*/ 640502 h 640502"/>
              <a:gd name="connsiteX3" fmla="*/ 0 w 1995342"/>
              <a:gd name="connsiteY3" fmla="*/ 640502 h 640502"/>
              <a:gd name="connsiteX4" fmla="*/ 0 w 1995342"/>
              <a:gd name="connsiteY4" fmla="*/ 0 h 640502"/>
              <a:gd name="connsiteX0" fmla="*/ 0 w 1995342"/>
              <a:gd name="connsiteY0" fmla="*/ 0 h 640502"/>
              <a:gd name="connsiteX1" fmla="*/ 1439402 w 1995342"/>
              <a:gd name="connsiteY1" fmla="*/ 3532 h 640502"/>
              <a:gd name="connsiteX2" fmla="*/ 1995342 w 1995342"/>
              <a:gd name="connsiteY2" fmla="*/ 640502 h 640502"/>
              <a:gd name="connsiteX3" fmla="*/ 0 w 1995342"/>
              <a:gd name="connsiteY3" fmla="*/ 640502 h 640502"/>
              <a:gd name="connsiteX4" fmla="*/ 0 w 1995342"/>
              <a:gd name="connsiteY4" fmla="*/ 0 h 640502"/>
              <a:gd name="connsiteX0" fmla="*/ 0 w 1995342"/>
              <a:gd name="connsiteY0" fmla="*/ 0 h 640502"/>
              <a:gd name="connsiteX1" fmla="*/ 1441528 w 1995342"/>
              <a:gd name="connsiteY1" fmla="*/ 1765 h 640502"/>
              <a:gd name="connsiteX2" fmla="*/ 1995342 w 1995342"/>
              <a:gd name="connsiteY2" fmla="*/ 640502 h 640502"/>
              <a:gd name="connsiteX3" fmla="*/ 0 w 1995342"/>
              <a:gd name="connsiteY3" fmla="*/ 640502 h 640502"/>
              <a:gd name="connsiteX4" fmla="*/ 0 w 1995342"/>
              <a:gd name="connsiteY4" fmla="*/ 0 h 640502"/>
              <a:gd name="connsiteX0" fmla="*/ 0 w 1995342"/>
              <a:gd name="connsiteY0" fmla="*/ 0 h 640502"/>
              <a:gd name="connsiteX1" fmla="*/ 1442591 w 1995342"/>
              <a:gd name="connsiteY1" fmla="*/ 882 h 640502"/>
              <a:gd name="connsiteX2" fmla="*/ 1995342 w 1995342"/>
              <a:gd name="connsiteY2" fmla="*/ 640502 h 640502"/>
              <a:gd name="connsiteX3" fmla="*/ 0 w 1995342"/>
              <a:gd name="connsiteY3" fmla="*/ 640502 h 640502"/>
              <a:gd name="connsiteX4" fmla="*/ 0 w 1995342"/>
              <a:gd name="connsiteY4" fmla="*/ 0 h 6405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95342" h="640502">
                <a:moveTo>
                  <a:pt x="0" y="0"/>
                </a:moveTo>
                <a:lnTo>
                  <a:pt x="1442591" y="882"/>
                </a:lnTo>
                <a:lnTo>
                  <a:pt x="1995342" y="640502"/>
                </a:lnTo>
                <a:lnTo>
                  <a:pt x="0" y="640502"/>
                </a:lnTo>
                <a:lnTo>
                  <a:pt x="0" y="0"/>
                </a:lnTo>
                <a:close/>
              </a:path>
            </a:pathLst>
          </a:custGeom>
          <a:ln>
            <a:noFill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sz="1100" dirty="0"/>
          </a:p>
        </p:txBody>
      </p:sp>
    </p:spTree>
    <p:extLst>
      <p:ext uri="{BB962C8B-B14F-4D97-AF65-F5344CB8AC3E}">
        <p14:creationId xmlns:p14="http://schemas.microsoft.com/office/powerpoint/2010/main" val="24931856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95542" y="1975733"/>
            <a:ext cx="10353762" cy="4058751"/>
          </a:xfrm>
        </p:spPr>
        <p:txBody>
          <a:bodyPr>
            <a:norm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</a:pPr>
            <a:r>
              <a:rPr lang="en-US" sz="2100" b="1" dirty="0"/>
              <a:t>PRIORITY ACTION 1:  </a:t>
            </a:r>
            <a:r>
              <a:rPr lang="en-US" sz="2100" dirty="0"/>
              <a:t>Orient more Cañada, K-12 and community partners about the benefits of early college experiences and dual enrollment and scale opportunities for both.</a:t>
            </a:r>
          </a:p>
          <a:p>
            <a:pPr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</a:pPr>
            <a:r>
              <a:rPr lang="en-US" sz="2100" b="1" dirty="0"/>
              <a:t>PRIORITY ACTION 2</a:t>
            </a:r>
            <a:r>
              <a:rPr lang="en-US" sz="2100" dirty="0"/>
              <a:t>: Develop dual enrollment and early college outreach campaigns and courses to match the needs of our feeder school districts with high concentrations of Black, Indigenous and People of Color communities. </a:t>
            </a:r>
          </a:p>
          <a:p>
            <a:pPr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</a:pPr>
            <a:r>
              <a:rPr lang="en-US" sz="2100" b="1" dirty="0"/>
              <a:t>PRIORITY ACTION 3</a:t>
            </a:r>
            <a:r>
              <a:rPr lang="en-US" sz="2100" dirty="0"/>
              <a:t>: Bring more folks to campus: Kindergarteners, Middle School students, High School students, and community members. Programs such as </a:t>
            </a:r>
            <a:r>
              <a:rPr lang="en-US" sz="2100" dirty="0" err="1"/>
              <a:t>KinderCaminata</a:t>
            </a:r>
            <a:r>
              <a:rPr lang="en-US" sz="2100" dirty="0"/>
              <a:t>, Cal Day, and other community oriented events build connections to the </a:t>
            </a:r>
            <a:r>
              <a:rPr lang="en-US" sz="2100" dirty="0" smtClean="0"/>
              <a:t>community.</a:t>
            </a:r>
            <a:endParaRPr lang="en-US" sz="2100" dirty="0"/>
          </a:p>
          <a:p>
            <a:endParaRPr lang="en-US" dirty="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BF518A3A-ECE0-42A2-BD7B-43096BD7B6FA}"/>
              </a:ext>
            </a:extLst>
          </p:cNvPr>
          <p:cNvSpPr/>
          <p:nvPr/>
        </p:nvSpPr>
        <p:spPr>
          <a:xfrm>
            <a:off x="366852" y="152414"/>
            <a:ext cx="11458296" cy="1132100"/>
          </a:xfrm>
          <a:prstGeom prst="rect">
            <a:avLst/>
          </a:prstGeom>
          <a:solidFill>
            <a:srgbClr val="006633"/>
          </a:solidFill>
          <a:ln>
            <a:noFill/>
          </a:ln>
          <a:effectLst/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/>
          </a:p>
        </p:txBody>
      </p:sp>
      <p:sp>
        <p:nvSpPr>
          <p:cNvPr id="9" name="Title 1"/>
          <p:cNvSpPr txBox="1">
            <a:spLocks/>
          </p:cNvSpPr>
          <p:nvPr/>
        </p:nvSpPr>
        <p:spPr>
          <a:xfrm>
            <a:off x="733704" y="323024"/>
            <a:ext cx="10515600" cy="961490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0000"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sz="3600" b="1" dirty="0" smtClean="0">
                <a:solidFill>
                  <a:schemeClr val="bg1"/>
                </a:solidFill>
                <a:effectLst>
                  <a:outerShdw blurRad="50800" dist="50800" dir="5400000" algn="ctr" rotWithShape="0">
                    <a:srgbClr val="000000">
                      <a:alpha val="43137"/>
                    </a:srgbClr>
                  </a:outerShdw>
                </a:effectLst>
                <a:latin typeface="Franklin Gothic Book" panose="020B0503020102020204" pitchFamily="34" charset="0"/>
              </a:rPr>
              <a:t>Equity &amp; Antiracism: Guided Pathways</a:t>
            </a:r>
          </a:p>
          <a:p>
            <a:pPr algn="ctr"/>
            <a:r>
              <a:rPr lang="en-US" sz="3600" b="1" dirty="0" smtClean="0">
                <a:solidFill>
                  <a:schemeClr val="bg1"/>
                </a:solidFill>
                <a:effectLst>
                  <a:outerShdw blurRad="50800" dist="50800" dir="5400000" algn="ctr" rotWithShape="0">
                    <a:srgbClr val="000000">
                      <a:alpha val="43137"/>
                    </a:srgbClr>
                  </a:outerShdw>
                </a:effectLst>
                <a:latin typeface="Franklin Gothic Book" panose="020B0503020102020204" pitchFamily="34" charset="0"/>
              </a:rPr>
              <a:t>Pathways from K-12 to Careers</a:t>
            </a:r>
            <a:endParaRPr lang="en-US" sz="3600" b="1" dirty="0">
              <a:solidFill>
                <a:schemeClr val="bg1"/>
              </a:solidFill>
              <a:effectLst>
                <a:outerShdw blurRad="50800" dist="50800" dir="5400000" algn="ctr" rotWithShape="0">
                  <a:srgbClr val="000000">
                    <a:alpha val="43137"/>
                  </a:srgbClr>
                </a:outerShdw>
              </a:effectLst>
              <a:latin typeface="Franklin Gothic Book" panose="020B0503020102020204" pitchFamily="34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29C5912D-DD36-465B-BD92-BB0220505875}"/>
              </a:ext>
            </a:extLst>
          </p:cNvPr>
          <p:cNvSpPr/>
          <p:nvPr/>
        </p:nvSpPr>
        <p:spPr>
          <a:xfrm rot="10800000" flipH="1">
            <a:off x="366852" y="152414"/>
            <a:ext cx="1788160" cy="1132099"/>
          </a:xfrm>
          <a:custGeom>
            <a:avLst/>
            <a:gdLst>
              <a:gd name="connsiteX0" fmla="*/ 0 w 1995342"/>
              <a:gd name="connsiteY0" fmla="*/ 0 h 690843"/>
              <a:gd name="connsiteX1" fmla="*/ 1995342 w 1995342"/>
              <a:gd name="connsiteY1" fmla="*/ 0 h 690843"/>
              <a:gd name="connsiteX2" fmla="*/ 1995342 w 1995342"/>
              <a:gd name="connsiteY2" fmla="*/ 690843 h 690843"/>
              <a:gd name="connsiteX3" fmla="*/ 0 w 1995342"/>
              <a:gd name="connsiteY3" fmla="*/ 690843 h 690843"/>
              <a:gd name="connsiteX4" fmla="*/ 0 w 1995342"/>
              <a:gd name="connsiteY4" fmla="*/ 0 h 690843"/>
              <a:gd name="connsiteX0" fmla="*/ 0 w 1995342"/>
              <a:gd name="connsiteY0" fmla="*/ 0 h 690843"/>
              <a:gd name="connsiteX1" fmla="*/ 1375630 w 1995342"/>
              <a:gd name="connsiteY1" fmla="*/ 0 h 690843"/>
              <a:gd name="connsiteX2" fmla="*/ 1995342 w 1995342"/>
              <a:gd name="connsiteY2" fmla="*/ 690843 h 690843"/>
              <a:gd name="connsiteX3" fmla="*/ 0 w 1995342"/>
              <a:gd name="connsiteY3" fmla="*/ 690843 h 690843"/>
              <a:gd name="connsiteX4" fmla="*/ 0 w 1995342"/>
              <a:gd name="connsiteY4" fmla="*/ 0 h 690843"/>
              <a:gd name="connsiteX0" fmla="*/ 0 w 1995342"/>
              <a:gd name="connsiteY0" fmla="*/ 0 h 690843"/>
              <a:gd name="connsiteX1" fmla="*/ 1427711 w 1995342"/>
              <a:gd name="connsiteY1" fmla="*/ 53873 h 690843"/>
              <a:gd name="connsiteX2" fmla="*/ 1995342 w 1995342"/>
              <a:gd name="connsiteY2" fmla="*/ 690843 h 690843"/>
              <a:gd name="connsiteX3" fmla="*/ 0 w 1995342"/>
              <a:gd name="connsiteY3" fmla="*/ 690843 h 690843"/>
              <a:gd name="connsiteX4" fmla="*/ 0 w 1995342"/>
              <a:gd name="connsiteY4" fmla="*/ 0 h 690843"/>
              <a:gd name="connsiteX0" fmla="*/ 26571 w 1995342"/>
              <a:gd name="connsiteY0" fmla="*/ 15898 h 636970"/>
              <a:gd name="connsiteX1" fmla="*/ 1427711 w 1995342"/>
              <a:gd name="connsiteY1" fmla="*/ 0 h 636970"/>
              <a:gd name="connsiteX2" fmla="*/ 1995342 w 1995342"/>
              <a:gd name="connsiteY2" fmla="*/ 636970 h 636970"/>
              <a:gd name="connsiteX3" fmla="*/ 0 w 1995342"/>
              <a:gd name="connsiteY3" fmla="*/ 636970 h 636970"/>
              <a:gd name="connsiteX4" fmla="*/ 26571 w 1995342"/>
              <a:gd name="connsiteY4" fmla="*/ 15898 h 636970"/>
              <a:gd name="connsiteX0" fmla="*/ 0 w 1995342"/>
              <a:gd name="connsiteY0" fmla="*/ 0 h 640502"/>
              <a:gd name="connsiteX1" fmla="*/ 1427711 w 1995342"/>
              <a:gd name="connsiteY1" fmla="*/ 3532 h 640502"/>
              <a:gd name="connsiteX2" fmla="*/ 1995342 w 1995342"/>
              <a:gd name="connsiteY2" fmla="*/ 640502 h 640502"/>
              <a:gd name="connsiteX3" fmla="*/ 0 w 1995342"/>
              <a:gd name="connsiteY3" fmla="*/ 640502 h 640502"/>
              <a:gd name="connsiteX4" fmla="*/ 0 w 1995342"/>
              <a:gd name="connsiteY4" fmla="*/ 0 h 640502"/>
              <a:gd name="connsiteX0" fmla="*/ 0 w 1995342"/>
              <a:gd name="connsiteY0" fmla="*/ 0 h 640502"/>
              <a:gd name="connsiteX1" fmla="*/ 1420271 w 1995342"/>
              <a:gd name="connsiteY1" fmla="*/ 1765 h 640502"/>
              <a:gd name="connsiteX2" fmla="*/ 1995342 w 1995342"/>
              <a:gd name="connsiteY2" fmla="*/ 640502 h 640502"/>
              <a:gd name="connsiteX3" fmla="*/ 0 w 1995342"/>
              <a:gd name="connsiteY3" fmla="*/ 640502 h 640502"/>
              <a:gd name="connsiteX4" fmla="*/ 0 w 1995342"/>
              <a:gd name="connsiteY4" fmla="*/ 0 h 640502"/>
              <a:gd name="connsiteX0" fmla="*/ 0 w 1995342"/>
              <a:gd name="connsiteY0" fmla="*/ 0 h 640502"/>
              <a:gd name="connsiteX1" fmla="*/ 1439402 w 1995342"/>
              <a:gd name="connsiteY1" fmla="*/ 3532 h 640502"/>
              <a:gd name="connsiteX2" fmla="*/ 1995342 w 1995342"/>
              <a:gd name="connsiteY2" fmla="*/ 640502 h 640502"/>
              <a:gd name="connsiteX3" fmla="*/ 0 w 1995342"/>
              <a:gd name="connsiteY3" fmla="*/ 640502 h 640502"/>
              <a:gd name="connsiteX4" fmla="*/ 0 w 1995342"/>
              <a:gd name="connsiteY4" fmla="*/ 0 h 640502"/>
              <a:gd name="connsiteX0" fmla="*/ 0 w 1995342"/>
              <a:gd name="connsiteY0" fmla="*/ 0 h 640502"/>
              <a:gd name="connsiteX1" fmla="*/ 1441528 w 1995342"/>
              <a:gd name="connsiteY1" fmla="*/ 1765 h 640502"/>
              <a:gd name="connsiteX2" fmla="*/ 1995342 w 1995342"/>
              <a:gd name="connsiteY2" fmla="*/ 640502 h 640502"/>
              <a:gd name="connsiteX3" fmla="*/ 0 w 1995342"/>
              <a:gd name="connsiteY3" fmla="*/ 640502 h 640502"/>
              <a:gd name="connsiteX4" fmla="*/ 0 w 1995342"/>
              <a:gd name="connsiteY4" fmla="*/ 0 h 640502"/>
              <a:gd name="connsiteX0" fmla="*/ 0 w 1995342"/>
              <a:gd name="connsiteY0" fmla="*/ 0 h 640502"/>
              <a:gd name="connsiteX1" fmla="*/ 1442591 w 1995342"/>
              <a:gd name="connsiteY1" fmla="*/ 882 h 640502"/>
              <a:gd name="connsiteX2" fmla="*/ 1995342 w 1995342"/>
              <a:gd name="connsiteY2" fmla="*/ 640502 h 640502"/>
              <a:gd name="connsiteX3" fmla="*/ 0 w 1995342"/>
              <a:gd name="connsiteY3" fmla="*/ 640502 h 640502"/>
              <a:gd name="connsiteX4" fmla="*/ 0 w 1995342"/>
              <a:gd name="connsiteY4" fmla="*/ 0 h 6405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95342" h="640502">
                <a:moveTo>
                  <a:pt x="0" y="0"/>
                </a:moveTo>
                <a:lnTo>
                  <a:pt x="1442591" y="882"/>
                </a:lnTo>
                <a:lnTo>
                  <a:pt x="1995342" y="640502"/>
                </a:lnTo>
                <a:lnTo>
                  <a:pt x="0" y="640502"/>
                </a:lnTo>
                <a:lnTo>
                  <a:pt x="0" y="0"/>
                </a:lnTo>
                <a:close/>
              </a:path>
            </a:pathLst>
          </a:custGeom>
          <a:ln>
            <a:noFill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sz="1100" dirty="0"/>
          </a:p>
        </p:txBody>
      </p:sp>
    </p:spTree>
    <p:extLst>
      <p:ext uri="{BB962C8B-B14F-4D97-AF65-F5344CB8AC3E}">
        <p14:creationId xmlns:p14="http://schemas.microsoft.com/office/powerpoint/2010/main" val="40578356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BF518A3A-ECE0-42A2-BD7B-43096BD7B6FA}"/>
              </a:ext>
            </a:extLst>
          </p:cNvPr>
          <p:cNvSpPr/>
          <p:nvPr/>
        </p:nvSpPr>
        <p:spPr>
          <a:xfrm>
            <a:off x="366852" y="152414"/>
            <a:ext cx="11458296" cy="1132100"/>
          </a:xfrm>
          <a:prstGeom prst="rect">
            <a:avLst/>
          </a:prstGeom>
          <a:solidFill>
            <a:srgbClr val="006633"/>
          </a:solidFill>
          <a:ln>
            <a:noFill/>
          </a:ln>
          <a:effectLst/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/>
          </a:p>
        </p:txBody>
      </p:sp>
      <p:sp>
        <p:nvSpPr>
          <p:cNvPr id="5" name="Title 1"/>
          <p:cNvSpPr txBox="1">
            <a:spLocks/>
          </p:cNvSpPr>
          <p:nvPr/>
        </p:nvSpPr>
        <p:spPr>
          <a:xfrm>
            <a:off x="733704" y="323024"/>
            <a:ext cx="10515600" cy="961490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0000"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sz="3600" b="1" dirty="0" smtClean="0">
                <a:solidFill>
                  <a:schemeClr val="bg1"/>
                </a:solidFill>
                <a:effectLst>
                  <a:outerShdw blurRad="50800" dist="50800" dir="5400000" algn="ctr" rotWithShape="0">
                    <a:srgbClr val="000000">
                      <a:alpha val="43137"/>
                    </a:srgbClr>
                  </a:outerShdw>
                </a:effectLst>
                <a:latin typeface="Franklin Gothic Book" panose="020B0503020102020204" pitchFamily="34" charset="0"/>
              </a:rPr>
              <a:t>Equity &amp; Antiracism:</a:t>
            </a:r>
          </a:p>
          <a:p>
            <a:pPr algn="ctr"/>
            <a:r>
              <a:rPr lang="en-US" sz="3600" b="1" dirty="0" smtClean="0">
                <a:solidFill>
                  <a:schemeClr val="bg1"/>
                </a:solidFill>
                <a:effectLst>
                  <a:outerShdw blurRad="50800" dist="50800" dir="5400000" algn="ctr" rotWithShape="0">
                    <a:srgbClr val="000000">
                      <a:alpha val="43137"/>
                    </a:srgbClr>
                  </a:outerShdw>
                </a:effectLst>
                <a:latin typeface="Franklin Gothic Book" panose="020B0503020102020204" pitchFamily="34" charset="0"/>
              </a:rPr>
              <a:t>Strategic Enrollment Management</a:t>
            </a:r>
            <a:endParaRPr lang="en-US" sz="3600" b="1" dirty="0">
              <a:solidFill>
                <a:schemeClr val="bg1"/>
              </a:solidFill>
              <a:effectLst>
                <a:outerShdw blurRad="50800" dist="50800" dir="5400000" algn="ctr" rotWithShape="0">
                  <a:srgbClr val="000000">
                    <a:alpha val="43137"/>
                  </a:srgbClr>
                </a:outerShdw>
              </a:effectLst>
              <a:latin typeface="Franklin Gothic Book" panose="020B05030201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95542" y="2059527"/>
            <a:ext cx="10353762" cy="4562654"/>
          </a:xfrm>
        </p:spPr>
        <p:txBody>
          <a:bodyPr>
            <a:normAutofit fontScale="62500" lnSpcReduction="20000"/>
          </a:bodyPr>
          <a:lstStyle/>
          <a:p>
            <a:pPr>
              <a:lnSpc>
                <a:spcPct val="130000"/>
              </a:lnSpc>
              <a:spcBef>
                <a:spcPts val="0"/>
              </a:spcBef>
              <a:spcAft>
                <a:spcPts val="1200"/>
              </a:spcAft>
            </a:pPr>
            <a:r>
              <a:rPr lang="en-US" sz="3400" b="1" dirty="0"/>
              <a:t>PRIORITY ACTION 1: </a:t>
            </a:r>
            <a:r>
              <a:rPr lang="en-US" sz="3400" dirty="0"/>
              <a:t>Create a student-first course schedule that creates course taking options and flexibility (and reduces course conflicts so that students can get the courses they need). Explore course modality choices; explore moving to two, 8-week sessions per term rather than one, long 17.5 week term).</a:t>
            </a:r>
          </a:p>
          <a:p>
            <a:pPr>
              <a:lnSpc>
                <a:spcPct val="130000"/>
              </a:lnSpc>
              <a:spcBef>
                <a:spcPts val="0"/>
              </a:spcBef>
              <a:spcAft>
                <a:spcPts val="1200"/>
              </a:spcAft>
            </a:pPr>
            <a:r>
              <a:rPr lang="en-US" sz="3400" b="1" dirty="0"/>
              <a:t>PRIORITY ACTION 2</a:t>
            </a:r>
            <a:r>
              <a:rPr lang="en-US" sz="3400" dirty="0"/>
              <a:t>: Create more degree and certificate programs available nights, weekends, and 100% online/</a:t>
            </a:r>
            <a:r>
              <a:rPr lang="en-US" sz="3400" dirty="0" err="1"/>
              <a:t>hyflex</a:t>
            </a:r>
            <a:r>
              <a:rPr lang="en-US" sz="3400" dirty="0"/>
              <a:t> for cohorts of students who we support like we do College for Working Adults students </a:t>
            </a:r>
          </a:p>
          <a:p>
            <a:pPr>
              <a:lnSpc>
                <a:spcPct val="130000"/>
              </a:lnSpc>
              <a:spcBef>
                <a:spcPts val="0"/>
              </a:spcBef>
              <a:spcAft>
                <a:spcPts val="1200"/>
              </a:spcAft>
            </a:pPr>
            <a:r>
              <a:rPr lang="en-US" sz="3400" b="1" dirty="0"/>
              <a:t>PRIORITY ACTION 3</a:t>
            </a:r>
            <a:r>
              <a:rPr lang="en-US" sz="3400" dirty="0"/>
              <a:t>: Bolster our ability to increase the number of our home campus students who receive Pell grants.  (We have about 2500 CCPG B students (2500 low income students) yet only 800 receive Pell grants).</a:t>
            </a:r>
          </a:p>
          <a:p>
            <a:endParaRPr lang="en-US" dirty="0"/>
          </a:p>
        </p:txBody>
      </p:sp>
      <p:sp>
        <p:nvSpPr>
          <p:cNvPr id="6" name="Rectangle 9">
            <a:extLst>
              <a:ext uri="{FF2B5EF4-FFF2-40B4-BE49-F238E27FC236}">
                <a16:creationId xmlns:a16="http://schemas.microsoft.com/office/drawing/2014/main" id="{29C5912D-DD36-465B-BD92-BB0220505875}"/>
              </a:ext>
            </a:extLst>
          </p:cNvPr>
          <p:cNvSpPr/>
          <p:nvPr/>
        </p:nvSpPr>
        <p:spPr>
          <a:xfrm rot="10800000" flipH="1">
            <a:off x="366852" y="152414"/>
            <a:ext cx="1788160" cy="1132099"/>
          </a:xfrm>
          <a:custGeom>
            <a:avLst/>
            <a:gdLst>
              <a:gd name="connsiteX0" fmla="*/ 0 w 1995342"/>
              <a:gd name="connsiteY0" fmla="*/ 0 h 690843"/>
              <a:gd name="connsiteX1" fmla="*/ 1995342 w 1995342"/>
              <a:gd name="connsiteY1" fmla="*/ 0 h 690843"/>
              <a:gd name="connsiteX2" fmla="*/ 1995342 w 1995342"/>
              <a:gd name="connsiteY2" fmla="*/ 690843 h 690843"/>
              <a:gd name="connsiteX3" fmla="*/ 0 w 1995342"/>
              <a:gd name="connsiteY3" fmla="*/ 690843 h 690843"/>
              <a:gd name="connsiteX4" fmla="*/ 0 w 1995342"/>
              <a:gd name="connsiteY4" fmla="*/ 0 h 690843"/>
              <a:gd name="connsiteX0" fmla="*/ 0 w 1995342"/>
              <a:gd name="connsiteY0" fmla="*/ 0 h 690843"/>
              <a:gd name="connsiteX1" fmla="*/ 1375630 w 1995342"/>
              <a:gd name="connsiteY1" fmla="*/ 0 h 690843"/>
              <a:gd name="connsiteX2" fmla="*/ 1995342 w 1995342"/>
              <a:gd name="connsiteY2" fmla="*/ 690843 h 690843"/>
              <a:gd name="connsiteX3" fmla="*/ 0 w 1995342"/>
              <a:gd name="connsiteY3" fmla="*/ 690843 h 690843"/>
              <a:gd name="connsiteX4" fmla="*/ 0 w 1995342"/>
              <a:gd name="connsiteY4" fmla="*/ 0 h 690843"/>
              <a:gd name="connsiteX0" fmla="*/ 0 w 1995342"/>
              <a:gd name="connsiteY0" fmla="*/ 0 h 690843"/>
              <a:gd name="connsiteX1" fmla="*/ 1427711 w 1995342"/>
              <a:gd name="connsiteY1" fmla="*/ 53873 h 690843"/>
              <a:gd name="connsiteX2" fmla="*/ 1995342 w 1995342"/>
              <a:gd name="connsiteY2" fmla="*/ 690843 h 690843"/>
              <a:gd name="connsiteX3" fmla="*/ 0 w 1995342"/>
              <a:gd name="connsiteY3" fmla="*/ 690843 h 690843"/>
              <a:gd name="connsiteX4" fmla="*/ 0 w 1995342"/>
              <a:gd name="connsiteY4" fmla="*/ 0 h 690843"/>
              <a:gd name="connsiteX0" fmla="*/ 26571 w 1995342"/>
              <a:gd name="connsiteY0" fmla="*/ 15898 h 636970"/>
              <a:gd name="connsiteX1" fmla="*/ 1427711 w 1995342"/>
              <a:gd name="connsiteY1" fmla="*/ 0 h 636970"/>
              <a:gd name="connsiteX2" fmla="*/ 1995342 w 1995342"/>
              <a:gd name="connsiteY2" fmla="*/ 636970 h 636970"/>
              <a:gd name="connsiteX3" fmla="*/ 0 w 1995342"/>
              <a:gd name="connsiteY3" fmla="*/ 636970 h 636970"/>
              <a:gd name="connsiteX4" fmla="*/ 26571 w 1995342"/>
              <a:gd name="connsiteY4" fmla="*/ 15898 h 636970"/>
              <a:gd name="connsiteX0" fmla="*/ 0 w 1995342"/>
              <a:gd name="connsiteY0" fmla="*/ 0 h 640502"/>
              <a:gd name="connsiteX1" fmla="*/ 1427711 w 1995342"/>
              <a:gd name="connsiteY1" fmla="*/ 3532 h 640502"/>
              <a:gd name="connsiteX2" fmla="*/ 1995342 w 1995342"/>
              <a:gd name="connsiteY2" fmla="*/ 640502 h 640502"/>
              <a:gd name="connsiteX3" fmla="*/ 0 w 1995342"/>
              <a:gd name="connsiteY3" fmla="*/ 640502 h 640502"/>
              <a:gd name="connsiteX4" fmla="*/ 0 w 1995342"/>
              <a:gd name="connsiteY4" fmla="*/ 0 h 640502"/>
              <a:gd name="connsiteX0" fmla="*/ 0 w 1995342"/>
              <a:gd name="connsiteY0" fmla="*/ 0 h 640502"/>
              <a:gd name="connsiteX1" fmla="*/ 1420271 w 1995342"/>
              <a:gd name="connsiteY1" fmla="*/ 1765 h 640502"/>
              <a:gd name="connsiteX2" fmla="*/ 1995342 w 1995342"/>
              <a:gd name="connsiteY2" fmla="*/ 640502 h 640502"/>
              <a:gd name="connsiteX3" fmla="*/ 0 w 1995342"/>
              <a:gd name="connsiteY3" fmla="*/ 640502 h 640502"/>
              <a:gd name="connsiteX4" fmla="*/ 0 w 1995342"/>
              <a:gd name="connsiteY4" fmla="*/ 0 h 640502"/>
              <a:gd name="connsiteX0" fmla="*/ 0 w 1995342"/>
              <a:gd name="connsiteY0" fmla="*/ 0 h 640502"/>
              <a:gd name="connsiteX1" fmla="*/ 1439402 w 1995342"/>
              <a:gd name="connsiteY1" fmla="*/ 3532 h 640502"/>
              <a:gd name="connsiteX2" fmla="*/ 1995342 w 1995342"/>
              <a:gd name="connsiteY2" fmla="*/ 640502 h 640502"/>
              <a:gd name="connsiteX3" fmla="*/ 0 w 1995342"/>
              <a:gd name="connsiteY3" fmla="*/ 640502 h 640502"/>
              <a:gd name="connsiteX4" fmla="*/ 0 w 1995342"/>
              <a:gd name="connsiteY4" fmla="*/ 0 h 640502"/>
              <a:gd name="connsiteX0" fmla="*/ 0 w 1995342"/>
              <a:gd name="connsiteY0" fmla="*/ 0 h 640502"/>
              <a:gd name="connsiteX1" fmla="*/ 1441528 w 1995342"/>
              <a:gd name="connsiteY1" fmla="*/ 1765 h 640502"/>
              <a:gd name="connsiteX2" fmla="*/ 1995342 w 1995342"/>
              <a:gd name="connsiteY2" fmla="*/ 640502 h 640502"/>
              <a:gd name="connsiteX3" fmla="*/ 0 w 1995342"/>
              <a:gd name="connsiteY3" fmla="*/ 640502 h 640502"/>
              <a:gd name="connsiteX4" fmla="*/ 0 w 1995342"/>
              <a:gd name="connsiteY4" fmla="*/ 0 h 640502"/>
              <a:gd name="connsiteX0" fmla="*/ 0 w 1995342"/>
              <a:gd name="connsiteY0" fmla="*/ 0 h 640502"/>
              <a:gd name="connsiteX1" fmla="*/ 1442591 w 1995342"/>
              <a:gd name="connsiteY1" fmla="*/ 882 h 640502"/>
              <a:gd name="connsiteX2" fmla="*/ 1995342 w 1995342"/>
              <a:gd name="connsiteY2" fmla="*/ 640502 h 640502"/>
              <a:gd name="connsiteX3" fmla="*/ 0 w 1995342"/>
              <a:gd name="connsiteY3" fmla="*/ 640502 h 640502"/>
              <a:gd name="connsiteX4" fmla="*/ 0 w 1995342"/>
              <a:gd name="connsiteY4" fmla="*/ 0 h 6405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95342" h="640502">
                <a:moveTo>
                  <a:pt x="0" y="0"/>
                </a:moveTo>
                <a:lnTo>
                  <a:pt x="1442591" y="882"/>
                </a:lnTo>
                <a:lnTo>
                  <a:pt x="1995342" y="640502"/>
                </a:lnTo>
                <a:lnTo>
                  <a:pt x="0" y="640502"/>
                </a:lnTo>
                <a:lnTo>
                  <a:pt x="0" y="0"/>
                </a:lnTo>
                <a:close/>
              </a:path>
            </a:pathLst>
          </a:custGeom>
          <a:ln>
            <a:noFill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sz="1100" dirty="0"/>
          </a:p>
        </p:txBody>
      </p:sp>
    </p:spTree>
    <p:extLst>
      <p:ext uri="{BB962C8B-B14F-4D97-AF65-F5344CB8AC3E}">
        <p14:creationId xmlns:p14="http://schemas.microsoft.com/office/powerpoint/2010/main" val="28729591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PBC to consider this set of priority actions for 2021-22 at their meetings in September</a:t>
            </a:r>
          </a:p>
          <a:p>
            <a:r>
              <a:rPr lang="en-US" dirty="0" smtClean="0"/>
              <a:t>Upon approval, we move to implementing our Annual Plan!</a:t>
            </a:r>
            <a:endParaRPr lang="en-US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BF518A3A-ECE0-42A2-BD7B-43096BD7B6FA}"/>
              </a:ext>
            </a:extLst>
          </p:cNvPr>
          <p:cNvSpPr/>
          <p:nvPr/>
        </p:nvSpPr>
        <p:spPr>
          <a:xfrm>
            <a:off x="366852" y="228614"/>
            <a:ext cx="11458296" cy="690843"/>
          </a:xfrm>
          <a:prstGeom prst="rect">
            <a:avLst/>
          </a:prstGeom>
          <a:solidFill>
            <a:srgbClr val="006633"/>
          </a:solidFill>
          <a:ln>
            <a:noFill/>
          </a:ln>
          <a:effectLst/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/>
          </a:p>
        </p:txBody>
      </p:sp>
      <p:sp>
        <p:nvSpPr>
          <p:cNvPr id="5" name="Title 1"/>
          <p:cNvSpPr txBox="1">
            <a:spLocks/>
          </p:cNvSpPr>
          <p:nvPr/>
        </p:nvSpPr>
        <p:spPr>
          <a:xfrm>
            <a:off x="733704" y="323024"/>
            <a:ext cx="10515600" cy="528108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0000"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sz="3600" b="1" dirty="0" smtClean="0">
                <a:solidFill>
                  <a:schemeClr val="bg1"/>
                </a:solidFill>
                <a:effectLst>
                  <a:outerShdw blurRad="50800" dist="50800" dir="5400000" algn="ctr" rotWithShape="0">
                    <a:srgbClr val="000000">
                      <a:alpha val="43137"/>
                    </a:srgbClr>
                  </a:outerShdw>
                </a:effectLst>
                <a:latin typeface="Franklin Gothic Book" panose="020B0503020102020204" pitchFamily="34" charset="0"/>
              </a:rPr>
              <a:t>2021-22 Annual Plan Next Steps</a:t>
            </a:r>
            <a:endParaRPr lang="en-US" sz="3600" b="1" dirty="0">
              <a:solidFill>
                <a:schemeClr val="bg1"/>
              </a:solidFill>
              <a:effectLst>
                <a:outerShdw blurRad="50800" dist="50800" dir="5400000" algn="ctr" rotWithShape="0">
                  <a:srgbClr val="000000">
                    <a:alpha val="43137"/>
                  </a:srgbClr>
                </a:outerShdw>
              </a:effectLst>
              <a:latin typeface="Franklin Gothic Book" panose="020B0503020102020204" pitchFamily="34" charset="0"/>
            </a:endParaRPr>
          </a:p>
        </p:txBody>
      </p:sp>
      <p:sp>
        <p:nvSpPr>
          <p:cNvPr id="6" name="Rectangle 9">
            <a:extLst>
              <a:ext uri="{FF2B5EF4-FFF2-40B4-BE49-F238E27FC236}">
                <a16:creationId xmlns:a16="http://schemas.microsoft.com/office/drawing/2014/main" id="{29C5912D-DD36-465B-BD92-BB0220505875}"/>
              </a:ext>
            </a:extLst>
          </p:cNvPr>
          <p:cNvSpPr/>
          <p:nvPr/>
        </p:nvSpPr>
        <p:spPr>
          <a:xfrm rot="10800000" flipH="1">
            <a:off x="366852" y="228614"/>
            <a:ext cx="1788160" cy="690775"/>
          </a:xfrm>
          <a:custGeom>
            <a:avLst/>
            <a:gdLst>
              <a:gd name="connsiteX0" fmla="*/ 0 w 1995342"/>
              <a:gd name="connsiteY0" fmla="*/ 0 h 690843"/>
              <a:gd name="connsiteX1" fmla="*/ 1995342 w 1995342"/>
              <a:gd name="connsiteY1" fmla="*/ 0 h 690843"/>
              <a:gd name="connsiteX2" fmla="*/ 1995342 w 1995342"/>
              <a:gd name="connsiteY2" fmla="*/ 690843 h 690843"/>
              <a:gd name="connsiteX3" fmla="*/ 0 w 1995342"/>
              <a:gd name="connsiteY3" fmla="*/ 690843 h 690843"/>
              <a:gd name="connsiteX4" fmla="*/ 0 w 1995342"/>
              <a:gd name="connsiteY4" fmla="*/ 0 h 690843"/>
              <a:gd name="connsiteX0" fmla="*/ 0 w 1995342"/>
              <a:gd name="connsiteY0" fmla="*/ 0 h 690843"/>
              <a:gd name="connsiteX1" fmla="*/ 1375630 w 1995342"/>
              <a:gd name="connsiteY1" fmla="*/ 0 h 690843"/>
              <a:gd name="connsiteX2" fmla="*/ 1995342 w 1995342"/>
              <a:gd name="connsiteY2" fmla="*/ 690843 h 690843"/>
              <a:gd name="connsiteX3" fmla="*/ 0 w 1995342"/>
              <a:gd name="connsiteY3" fmla="*/ 690843 h 690843"/>
              <a:gd name="connsiteX4" fmla="*/ 0 w 1995342"/>
              <a:gd name="connsiteY4" fmla="*/ 0 h 690843"/>
              <a:gd name="connsiteX0" fmla="*/ 0 w 1995342"/>
              <a:gd name="connsiteY0" fmla="*/ 0 h 690843"/>
              <a:gd name="connsiteX1" fmla="*/ 1427711 w 1995342"/>
              <a:gd name="connsiteY1" fmla="*/ 53873 h 690843"/>
              <a:gd name="connsiteX2" fmla="*/ 1995342 w 1995342"/>
              <a:gd name="connsiteY2" fmla="*/ 690843 h 690843"/>
              <a:gd name="connsiteX3" fmla="*/ 0 w 1995342"/>
              <a:gd name="connsiteY3" fmla="*/ 690843 h 690843"/>
              <a:gd name="connsiteX4" fmla="*/ 0 w 1995342"/>
              <a:gd name="connsiteY4" fmla="*/ 0 h 690843"/>
              <a:gd name="connsiteX0" fmla="*/ 26571 w 1995342"/>
              <a:gd name="connsiteY0" fmla="*/ 15898 h 636970"/>
              <a:gd name="connsiteX1" fmla="*/ 1427711 w 1995342"/>
              <a:gd name="connsiteY1" fmla="*/ 0 h 636970"/>
              <a:gd name="connsiteX2" fmla="*/ 1995342 w 1995342"/>
              <a:gd name="connsiteY2" fmla="*/ 636970 h 636970"/>
              <a:gd name="connsiteX3" fmla="*/ 0 w 1995342"/>
              <a:gd name="connsiteY3" fmla="*/ 636970 h 636970"/>
              <a:gd name="connsiteX4" fmla="*/ 26571 w 1995342"/>
              <a:gd name="connsiteY4" fmla="*/ 15898 h 636970"/>
              <a:gd name="connsiteX0" fmla="*/ 0 w 1995342"/>
              <a:gd name="connsiteY0" fmla="*/ 0 h 640502"/>
              <a:gd name="connsiteX1" fmla="*/ 1427711 w 1995342"/>
              <a:gd name="connsiteY1" fmla="*/ 3532 h 640502"/>
              <a:gd name="connsiteX2" fmla="*/ 1995342 w 1995342"/>
              <a:gd name="connsiteY2" fmla="*/ 640502 h 640502"/>
              <a:gd name="connsiteX3" fmla="*/ 0 w 1995342"/>
              <a:gd name="connsiteY3" fmla="*/ 640502 h 640502"/>
              <a:gd name="connsiteX4" fmla="*/ 0 w 1995342"/>
              <a:gd name="connsiteY4" fmla="*/ 0 h 640502"/>
              <a:gd name="connsiteX0" fmla="*/ 0 w 1995342"/>
              <a:gd name="connsiteY0" fmla="*/ 0 h 640502"/>
              <a:gd name="connsiteX1" fmla="*/ 1420271 w 1995342"/>
              <a:gd name="connsiteY1" fmla="*/ 1765 h 640502"/>
              <a:gd name="connsiteX2" fmla="*/ 1995342 w 1995342"/>
              <a:gd name="connsiteY2" fmla="*/ 640502 h 640502"/>
              <a:gd name="connsiteX3" fmla="*/ 0 w 1995342"/>
              <a:gd name="connsiteY3" fmla="*/ 640502 h 640502"/>
              <a:gd name="connsiteX4" fmla="*/ 0 w 1995342"/>
              <a:gd name="connsiteY4" fmla="*/ 0 h 640502"/>
              <a:gd name="connsiteX0" fmla="*/ 0 w 1995342"/>
              <a:gd name="connsiteY0" fmla="*/ 0 h 640502"/>
              <a:gd name="connsiteX1" fmla="*/ 1439402 w 1995342"/>
              <a:gd name="connsiteY1" fmla="*/ 3532 h 640502"/>
              <a:gd name="connsiteX2" fmla="*/ 1995342 w 1995342"/>
              <a:gd name="connsiteY2" fmla="*/ 640502 h 640502"/>
              <a:gd name="connsiteX3" fmla="*/ 0 w 1995342"/>
              <a:gd name="connsiteY3" fmla="*/ 640502 h 640502"/>
              <a:gd name="connsiteX4" fmla="*/ 0 w 1995342"/>
              <a:gd name="connsiteY4" fmla="*/ 0 h 640502"/>
              <a:gd name="connsiteX0" fmla="*/ 0 w 1995342"/>
              <a:gd name="connsiteY0" fmla="*/ 0 h 640502"/>
              <a:gd name="connsiteX1" fmla="*/ 1441528 w 1995342"/>
              <a:gd name="connsiteY1" fmla="*/ 1765 h 640502"/>
              <a:gd name="connsiteX2" fmla="*/ 1995342 w 1995342"/>
              <a:gd name="connsiteY2" fmla="*/ 640502 h 640502"/>
              <a:gd name="connsiteX3" fmla="*/ 0 w 1995342"/>
              <a:gd name="connsiteY3" fmla="*/ 640502 h 640502"/>
              <a:gd name="connsiteX4" fmla="*/ 0 w 1995342"/>
              <a:gd name="connsiteY4" fmla="*/ 0 h 640502"/>
              <a:gd name="connsiteX0" fmla="*/ 0 w 1995342"/>
              <a:gd name="connsiteY0" fmla="*/ 0 h 640502"/>
              <a:gd name="connsiteX1" fmla="*/ 1442591 w 1995342"/>
              <a:gd name="connsiteY1" fmla="*/ 882 h 640502"/>
              <a:gd name="connsiteX2" fmla="*/ 1995342 w 1995342"/>
              <a:gd name="connsiteY2" fmla="*/ 640502 h 640502"/>
              <a:gd name="connsiteX3" fmla="*/ 0 w 1995342"/>
              <a:gd name="connsiteY3" fmla="*/ 640502 h 640502"/>
              <a:gd name="connsiteX4" fmla="*/ 0 w 1995342"/>
              <a:gd name="connsiteY4" fmla="*/ 0 h 6405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95342" h="640502">
                <a:moveTo>
                  <a:pt x="0" y="0"/>
                </a:moveTo>
                <a:lnTo>
                  <a:pt x="1442591" y="882"/>
                </a:lnTo>
                <a:lnTo>
                  <a:pt x="1995342" y="640502"/>
                </a:lnTo>
                <a:lnTo>
                  <a:pt x="0" y="640502"/>
                </a:lnTo>
                <a:lnTo>
                  <a:pt x="0" y="0"/>
                </a:lnTo>
                <a:close/>
              </a:path>
            </a:pathLst>
          </a:custGeom>
          <a:ln>
            <a:noFill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sz="1100" dirty="0"/>
          </a:p>
        </p:txBody>
      </p:sp>
    </p:spTree>
    <p:extLst>
      <p:ext uri="{BB962C8B-B14F-4D97-AF65-F5344CB8AC3E}">
        <p14:creationId xmlns:p14="http://schemas.microsoft.com/office/powerpoint/2010/main" val="33078895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8408808" y="1058181"/>
            <a:ext cx="1857675" cy="5216893"/>
          </a:xfrm>
          <a:prstGeom prst="rect">
            <a:avLst/>
          </a:prstGeom>
          <a:noFill/>
          <a:ln w="38100">
            <a:solidFill>
              <a:srgbClr val="FF0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0D306E47-65FC-034A-8737-E1EE8A1A3212}"/>
              </a:ext>
            </a:extLst>
          </p:cNvPr>
          <p:cNvSpPr/>
          <p:nvPr/>
        </p:nvSpPr>
        <p:spPr>
          <a:xfrm>
            <a:off x="962528" y="1553843"/>
            <a:ext cx="9154510" cy="735726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1" dirty="0">
                <a:solidFill>
                  <a:schemeClr val="tx1"/>
                </a:solidFill>
              </a:rPr>
              <a:t>Education Master Plan: 2017-2022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DFFEA069-0333-AE41-B74A-01DE1AE87920}"/>
              </a:ext>
            </a:extLst>
          </p:cNvPr>
          <p:cNvCxnSpPr/>
          <p:nvPr/>
        </p:nvCxnSpPr>
        <p:spPr>
          <a:xfrm>
            <a:off x="3771168" y="2288072"/>
            <a:ext cx="2626" cy="620110"/>
          </a:xfrm>
          <a:prstGeom prst="line">
            <a:avLst/>
          </a:prstGeom>
          <a:ln w="15875">
            <a:solidFill>
              <a:schemeClr val="accent6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2A0E5E8E-1FE5-D64A-B57C-DE5A73111C39}"/>
              </a:ext>
            </a:extLst>
          </p:cNvPr>
          <p:cNvCxnSpPr/>
          <p:nvPr/>
        </p:nvCxnSpPr>
        <p:spPr>
          <a:xfrm>
            <a:off x="5375884" y="2300352"/>
            <a:ext cx="2626" cy="620110"/>
          </a:xfrm>
          <a:prstGeom prst="line">
            <a:avLst/>
          </a:prstGeom>
          <a:ln w="15875">
            <a:solidFill>
              <a:schemeClr val="accent6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AF11EA6F-BB42-714A-9FE9-1181B4937291}"/>
              </a:ext>
            </a:extLst>
          </p:cNvPr>
          <p:cNvCxnSpPr/>
          <p:nvPr/>
        </p:nvCxnSpPr>
        <p:spPr>
          <a:xfrm>
            <a:off x="6998896" y="2302138"/>
            <a:ext cx="2626" cy="620110"/>
          </a:xfrm>
          <a:prstGeom prst="line">
            <a:avLst/>
          </a:prstGeom>
          <a:ln w="15875">
            <a:solidFill>
              <a:schemeClr val="accent6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38DA8941-2EED-D440-94F7-29E737FB3289}"/>
              </a:ext>
            </a:extLst>
          </p:cNvPr>
          <p:cNvCxnSpPr/>
          <p:nvPr/>
        </p:nvCxnSpPr>
        <p:spPr>
          <a:xfrm>
            <a:off x="8542486" y="2315789"/>
            <a:ext cx="2626" cy="620110"/>
          </a:xfrm>
          <a:prstGeom prst="line">
            <a:avLst/>
          </a:prstGeom>
          <a:ln w="15875">
            <a:solidFill>
              <a:schemeClr val="accent6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Box 19">
            <a:extLst>
              <a:ext uri="{FF2B5EF4-FFF2-40B4-BE49-F238E27FC236}">
                <a16:creationId xmlns:a16="http://schemas.microsoft.com/office/drawing/2014/main" id="{3A9D6403-F006-7D4C-A14F-4744D44F4255}"/>
              </a:ext>
            </a:extLst>
          </p:cNvPr>
          <p:cNvSpPr txBox="1"/>
          <p:nvPr/>
        </p:nvSpPr>
        <p:spPr>
          <a:xfrm>
            <a:off x="5831109" y="2302679"/>
            <a:ext cx="957313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i="1" dirty="0"/>
              <a:t>Year 3</a:t>
            </a:r>
          </a:p>
          <a:p>
            <a:pPr algn="ctr"/>
            <a:r>
              <a:rPr lang="en-US" dirty="0"/>
              <a:t>2019-20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D65EFEF3-FAE6-7845-817F-E05D07C8D212}"/>
              </a:ext>
            </a:extLst>
          </p:cNvPr>
          <p:cNvSpPr txBox="1"/>
          <p:nvPr/>
        </p:nvSpPr>
        <p:spPr>
          <a:xfrm>
            <a:off x="7398065" y="2286312"/>
            <a:ext cx="957313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i="1" dirty="0"/>
              <a:t>Year 4</a:t>
            </a:r>
          </a:p>
          <a:p>
            <a:pPr algn="ctr"/>
            <a:r>
              <a:rPr lang="en-US" i="1" dirty="0"/>
              <a:t>2020-21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2A999BBD-23DD-A747-8EAE-7D7293E68970}"/>
              </a:ext>
            </a:extLst>
          </p:cNvPr>
          <p:cNvSpPr txBox="1"/>
          <p:nvPr/>
        </p:nvSpPr>
        <p:spPr>
          <a:xfrm>
            <a:off x="8917833" y="2274530"/>
            <a:ext cx="957313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i="1" dirty="0"/>
              <a:t>Year 5</a:t>
            </a:r>
          </a:p>
          <a:p>
            <a:pPr algn="ctr"/>
            <a:r>
              <a:rPr lang="en-US" i="1" dirty="0"/>
              <a:t>2021-22</a:t>
            </a:r>
          </a:p>
        </p:txBody>
      </p: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4A2F55C5-1EF2-1F4D-BA1A-98DE1C8A4565}"/>
              </a:ext>
            </a:extLst>
          </p:cNvPr>
          <p:cNvCxnSpPr/>
          <p:nvPr/>
        </p:nvCxnSpPr>
        <p:spPr>
          <a:xfrm>
            <a:off x="10117038" y="2289569"/>
            <a:ext cx="2626" cy="620110"/>
          </a:xfrm>
          <a:prstGeom prst="line">
            <a:avLst/>
          </a:prstGeom>
          <a:ln w="15875">
            <a:solidFill>
              <a:schemeClr val="accent6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Box 26">
            <a:extLst>
              <a:ext uri="{FF2B5EF4-FFF2-40B4-BE49-F238E27FC236}">
                <a16:creationId xmlns:a16="http://schemas.microsoft.com/office/drawing/2014/main" id="{36AD4B8F-9DD7-0A4E-921F-4F02B327F1E0}"/>
              </a:ext>
            </a:extLst>
          </p:cNvPr>
          <p:cNvSpPr txBox="1"/>
          <p:nvPr/>
        </p:nvSpPr>
        <p:spPr>
          <a:xfrm>
            <a:off x="10369265" y="3440112"/>
            <a:ext cx="957313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i="1" dirty="0"/>
              <a:t>Year 3</a:t>
            </a:r>
          </a:p>
          <a:p>
            <a:pPr algn="ctr"/>
            <a:r>
              <a:rPr lang="en-US" dirty="0"/>
              <a:t>2022-23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5CB95896-5FD3-BD4C-B206-BB4E698FE794}"/>
              </a:ext>
            </a:extLst>
          </p:cNvPr>
          <p:cNvSpPr txBox="1"/>
          <p:nvPr/>
        </p:nvSpPr>
        <p:spPr>
          <a:xfrm>
            <a:off x="7373867" y="3484618"/>
            <a:ext cx="957313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dirty="0"/>
              <a:t>Year 1</a:t>
            </a:r>
          </a:p>
          <a:p>
            <a:pPr algn="ctr"/>
            <a:r>
              <a:rPr lang="en-US" dirty="0"/>
              <a:t>2020-21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8328F971-5953-FA48-9906-87333039BB95}"/>
              </a:ext>
            </a:extLst>
          </p:cNvPr>
          <p:cNvSpPr txBox="1"/>
          <p:nvPr/>
        </p:nvSpPr>
        <p:spPr>
          <a:xfrm>
            <a:off x="8937372" y="3463916"/>
            <a:ext cx="957313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dirty="0"/>
              <a:t>Year 2</a:t>
            </a:r>
          </a:p>
          <a:p>
            <a:pPr algn="ctr"/>
            <a:r>
              <a:rPr lang="en-US" dirty="0"/>
              <a:t>2021-22</a:t>
            </a:r>
          </a:p>
        </p:txBody>
      </p: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DACA73E4-2844-E445-B1C1-AFD4D6EA10AF}"/>
              </a:ext>
            </a:extLst>
          </p:cNvPr>
          <p:cNvCxnSpPr/>
          <p:nvPr/>
        </p:nvCxnSpPr>
        <p:spPr>
          <a:xfrm>
            <a:off x="7012416" y="3509043"/>
            <a:ext cx="0" cy="684502"/>
          </a:xfrm>
          <a:prstGeom prst="line">
            <a:avLst/>
          </a:prstGeom>
          <a:ln w="15875">
            <a:solidFill>
              <a:schemeClr val="accent6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id="{3702BA0B-2E2F-7B45-8AA2-2A7F82A93CDD}"/>
              </a:ext>
            </a:extLst>
          </p:cNvPr>
          <p:cNvCxnSpPr/>
          <p:nvPr/>
        </p:nvCxnSpPr>
        <p:spPr>
          <a:xfrm>
            <a:off x="8545112" y="3478637"/>
            <a:ext cx="14421" cy="694422"/>
          </a:xfrm>
          <a:prstGeom prst="line">
            <a:avLst/>
          </a:prstGeom>
          <a:ln w="15875">
            <a:solidFill>
              <a:schemeClr val="accent6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D3A67C46-C05E-0E4D-9F93-B596E41DE5A9}"/>
              </a:ext>
            </a:extLst>
          </p:cNvPr>
          <p:cNvCxnSpPr/>
          <p:nvPr/>
        </p:nvCxnSpPr>
        <p:spPr>
          <a:xfrm>
            <a:off x="10134104" y="3490137"/>
            <a:ext cx="6808" cy="682922"/>
          </a:xfrm>
          <a:prstGeom prst="line">
            <a:avLst/>
          </a:prstGeom>
          <a:ln w="15875">
            <a:solidFill>
              <a:schemeClr val="accent6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TextBox 46">
            <a:extLst>
              <a:ext uri="{FF2B5EF4-FFF2-40B4-BE49-F238E27FC236}">
                <a16:creationId xmlns:a16="http://schemas.microsoft.com/office/drawing/2014/main" id="{FD66F787-8CAE-DB4A-B0AC-1317A9389F26}"/>
              </a:ext>
            </a:extLst>
          </p:cNvPr>
          <p:cNvSpPr txBox="1"/>
          <p:nvPr/>
        </p:nvSpPr>
        <p:spPr>
          <a:xfrm>
            <a:off x="4226393" y="2274131"/>
            <a:ext cx="957313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i="1" dirty="0"/>
              <a:t>Year 2</a:t>
            </a:r>
          </a:p>
          <a:p>
            <a:pPr algn="ctr"/>
            <a:r>
              <a:rPr lang="en-US" i="1" dirty="0"/>
              <a:t>2018-19</a:t>
            </a:r>
          </a:p>
        </p:txBody>
      </p:sp>
      <p:cxnSp>
        <p:nvCxnSpPr>
          <p:cNvPr id="56" name="Straight Connector 55">
            <a:extLst>
              <a:ext uri="{FF2B5EF4-FFF2-40B4-BE49-F238E27FC236}">
                <a16:creationId xmlns:a16="http://schemas.microsoft.com/office/drawing/2014/main" id="{85BB82FB-A48F-154D-A261-04D3667883C5}"/>
              </a:ext>
            </a:extLst>
          </p:cNvPr>
          <p:cNvCxnSpPr/>
          <p:nvPr/>
        </p:nvCxnSpPr>
        <p:spPr>
          <a:xfrm>
            <a:off x="2263851" y="2302138"/>
            <a:ext cx="2626" cy="620110"/>
          </a:xfrm>
          <a:prstGeom prst="line">
            <a:avLst/>
          </a:prstGeom>
          <a:ln w="15875">
            <a:solidFill>
              <a:schemeClr val="accent6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" name="TextBox 57">
            <a:extLst>
              <a:ext uri="{FF2B5EF4-FFF2-40B4-BE49-F238E27FC236}">
                <a16:creationId xmlns:a16="http://schemas.microsoft.com/office/drawing/2014/main" id="{5E76B050-3785-7549-9D7A-3F75417B61AA}"/>
              </a:ext>
            </a:extLst>
          </p:cNvPr>
          <p:cNvSpPr txBox="1"/>
          <p:nvPr/>
        </p:nvSpPr>
        <p:spPr>
          <a:xfrm>
            <a:off x="2717157" y="2261144"/>
            <a:ext cx="957313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i="1" dirty="0"/>
              <a:t>Year 1</a:t>
            </a:r>
          </a:p>
          <a:p>
            <a:pPr algn="ctr"/>
            <a:r>
              <a:rPr lang="en-US" dirty="0"/>
              <a:t>2017-18</a:t>
            </a:r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5D65581B-91ED-F942-AA29-BD847B521F2D}"/>
              </a:ext>
            </a:extLst>
          </p:cNvPr>
          <p:cNvSpPr txBox="1"/>
          <p:nvPr/>
        </p:nvSpPr>
        <p:spPr>
          <a:xfrm>
            <a:off x="10262585" y="3666628"/>
            <a:ext cx="23756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 </a:t>
            </a:r>
          </a:p>
        </p:txBody>
      </p:sp>
      <p:sp>
        <p:nvSpPr>
          <p:cNvPr id="76" name="TextBox 75">
            <a:extLst>
              <a:ext uri="{FF2B5EF4-FFF2-40B4-BE49-F238E27FC236}">
                <a16:creationId xmlns:a16="http://schemas.microsoft.com/office/drawing/2014/main" id="{57FFEE49-6B62-9B4C-A757-66D2A2BFDA6C}"/>
              </a:ext>
            </a:extLst>
          </p:cNvPr>
          <p:cNvSpPr txBox="1"/>
          <p:nvPr/>
        </p:nvSpPr>
        <p:spPr>
          <a:xfrm>
            <a:off x="10569824" y="2968432"/>
            <a:ext cx="29046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  </a:t>
            </a:r>
          </a:p>
        </p:txBody>
      </p:sp>
      <p:cxnSp>
        <p:nvCxnSpPr>
          <p:cNvPr id="85" name="Straight Connector 84">
            <a:extLst>
              <a:ext uri="{FF2B5EF4-FFF2-40B4-BE49-F238E27FC236}">
                <a16:creationId xmlns:a16="http://schemas.microsoft.com/office/drawing/2014/main" id="{4DD8178F-B9F7-6046-AFB1-E950F9A57B99}"/>
              </a:ext>
            </a:extLst>
          </p:cNvPr>
          <p:cNvCxnSpPr/>
          <p:nvPr/>
        </p:nvCxnSpPr>
        <p:spPr>
          <a:xfrm>
            <a:off x="11554931" y="3474176"/>
            <a:ext cx="0" cy="698883"/>
          </a:xfrm>
          <a:prstGeom prst="line">
            <a:avLst/>
          </a:prstGeom>
          <a:ln w="15875">
            <a:solidFill>
              <a:schemeClr val="accent6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extBox 4"/>
          <p:cNvSpPr txBox="1"/>
          <p:nvPr/>
        </p:nvSpPr>
        <p:spPr>
          <a:xfrm>
            <a:off x="7012416" y="5057174"/>
            <a:ext cx="1530070" cy="861774"/>
          </a:xfrm>
          <a:prstGeom prst="rect">
            <a:avLst/>
          </a:prstGeom>
          <a:solidFill>
            <a:srgbClr val="006342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1600" dirty="0" smtClean="0"/>
              <a:t>Annual Strategic Plan</a:t>
            </a:r>
          </a:p>
          <a:p>
            <a:pPr algn="ctr"/>
            <a:r>
              <a:rPr lang="en-US" sz="1600" dirty="0" smtClean="0"/>
              <a:t>(operational)</a:t>
            </a:r>
            <a:endParaRPr lang="en-US" sz="1600" dirty="0"/>
          </a:p>
        </p:txBody>
      </p:sp>
      <p:sp>
        <p:nvSpPr>
          <p:cNvPr id="48" name="TextBox 47"/>
          <p:cNvSpPr txBox="1"/>
          <p:nvPr/>
        </p:nvSpPr>
        <p:spPr>
          <a:xfrm>
            <a:off x="8503563" y="5057174"/>
            <a:ext cx="1530070" cy="861774"/>
          </a:xfrm>
          <a:prstGeom prst="rect">
            <a:avLst/>
          </a:prstGeom>
          <a:solidFill>
            <a:srgbClr val="006342"/>
          </a:solidFill>
          <a:ln>
            <a:solidFill>
              <a:schemeClr val="bg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600" dirty="0" smtClean="0">
                <a:solidFill>
                  <a:schemeClr val="bg1"/>
                </a:solidFill>
              </a:rPr>
              <a:t>Annual Strategic Plan</a:t>
            </a:r>
          </a:p>
          <a:p>
            <a:pPr algn="ctr"/>
            <a:r>
              <a:rPr lang="en-US" sz="1600" dirty="0" smtClean="0">
                <a:solidFill>
                  <a:schemeClr val="bg1"/>
                </a:solidFill>
              </a:rPr>
              <a:t>(operational)</a:t>
            </a:r>
            <a:endParaRPr lang="en-US" sz="1600" dirty="0">
              <a:solidFill>
                <a:schemeClr val="bg1"/>
              </a:solidFill>
            </a:endParaRPr>
          </a:p>
        </p:txBody>
      </p:sp>
      <p:sp>
        <p:nvSpPr>
          <p:cNvPr id="49" name="TextBox 48"/>
          <p:cNvSpPr txBox="1"/>
          <p:nvPr/>
        </p:nvSpPr>
        <p:spPr>
          <a:xfrm>
            <a:off x="10038382" y="5057174"/>
            <a:ext cx="1530070" cy="861774"/>
          </a:xfrm>
          <a:prstGeom prst="rect">
            <a:avLst/>
          </a:prstGeom>
          <a:solidFill>
            <a:srgbClr val="006342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1600" dirty="0" smtClean="0"/>
              <a:t>Annual Strategic Plan</a:t>
            </a:r>
          </a:p>
          <a:p>
            <a:pPr algn="ctr"/>
            <a:r>
              <a:rPr lang="en-US" sz="1600" dirty="0" smtClean="0"/>
              <a:t>(operational)</a:t>
            </a:r>
            <a:endParaRPr lang="en-US" sz="1600" dirty="0"/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8C5A5B32-2025-C841-B01D-8E7E2F47BE20}"/>
              </a:ext>
            </a:extLst>
          </p:cNvPr>
          <p:cNvSpPr/>
          <p:nvPr/>
        </p:nvSpPr>
        <p:spPr>
          <a:xfrm>
            <a:off x="7012416" y="4173059"/>
            <a:ext cx="4556035" cy="884115"/>
          </a:xfrm>
          <a:prstGeom prst="rect">
            <a:avLst/>
          </a:prstGeom>
          <a:solidFill>
            <a:schemeClr val="accent2">
              <a:lumMod val="40000"/>
              <a:lumOff val="60000"/>
              <a:alpha val="39000"/>
            </a:schemeClr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>
                <a:solidFill>
                  <a:schemeClr val="tx1"/>
                </a:solidFill>
              </a:rPr>
              <a:t>   </a:t>
            </a:r>
            <a:r>
              <a:rPr lang="en-US" sz="1600" b="1" dirty="0">
                <a:solidFill>
                  <a:schemeClr val="tx1"/>
                </a:solidFill>
              </a:rPr>
              <a:t>College Committee </a:t>
            </a:r>
            <a:r>
              <a:rPr lang="en-US" sz="1600" b="1" dirty="0" smtClean="0">
                <a:solidFill>
                  <a:schemeClr val="tx1"/>
                </a:solidFill>
              </a:rPr>
              <a:t>Planning</a:t>
            </a:r>
            <a:endParaRPr lang="en-US" sz="1600" dirty="0">
              <a:solidFill>
                <a:schemeClr val="tx1"/>
              </a:solidFill>
            </a:endParaRPr>
          </a:p>
          <a:p>
            <a:pPr algn="ctr"/>
            <a:r>
              <a:rPr lang="en-US" sz="1600" i="1" dirty="0" smtClean="0">
                <a:solidFill>
                  <a:schemeClr val="tx1"/>
                </a:solidFill>
              </a:rPr>
              <a:t>Align </a:t>
            </a:r>
            <a:r>
              <a:rPr lang="en-US" sz="1600" i="1" dirty="0">
                <a:solidFill>
                  <a:schemeClr val="tx1"/>
                </a:solidFill>
              </a:rPr>
              <a:t>3-year planning as appropriate per committee</a:t>
            </a: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2C29BFBA-1849-CF4C-ACC4-CA71D7E83ECF}"/>
              </a:ext>
            </a:extLst>
          </p:cNvPr>
          <p:cNvSpPr/>
          <p:nvPr/>
        </p:nvSpPr>
        <p:spPr>
          <a:xfrm>
            <a:off x="2263851" y="2921292"/>
            <a:ext cx="9291080" cy="546538"/>
          </a:xfrm>
          <a:prstGeom prst="rect">
            <a:avLst/>
          </a:prstGeom>
          <a:solidFill>
            <a:schemeClr val="accent5">
              <a:lumMod val="40000"/>
              <a:lumOff val="60000"/>
              <a:alpha val="50196"/>
            </a:schemeClr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 dirty="0">
              <a:solidFill>
                <a:schemeClr val="tx1"/>
              </a:solidFill>
            </a:endParaRPr>
          </a:p>
          <a:p>
            <a:pPr algn="ctr"/>
            <a:r>
              <a:rPr lang="en-US" i="1" dirty="0">
                <a:solidFill>
                  <a:schemeClr val="accent3">
                    <a:lumMod val="20000"/>
                    <a:lumOff val="80000"/>
                  </a:schemeClr>
                </a:solidFill>
              </a:rPr>
              <a:t>Strategic Enrollment Planning</a:t>
            </a:r>
            <a:r>
              <a:rPr lang="en-US" dirty="0">
                <a:solidFill>
                  <a:schemeClr val="accent3">
                    <a:lumMod val="20000"/>
                    <a:lumOff val="80000"/>
                  </a:schemeClr>
                </a:solidFill>
              </a:rPr>
              <a:t>              </a:t>
            </a:r>
            <a:r>
              <a:rPr lang="en-US" sz="2000" b="1" dirty="0">
                <a:solidFill>
                  <a:schemeClr val="tx1"/>
                </a:solidFill>
              </a:rPr>
              <a:t>Strategic Enrollment Management Plan: 2020-23</a:t>
            </a:r>
          </a:p>
          <a:p>
            <a:pPr algn="ctr"/>
            <a:endParaRPr lang="en-US" sz="2000" dirty="0">
              <a:solidFill>
                <a:schemeClr val="tx1"/>
              </a:solidFill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BF518A3A-ECE0-42A2-BD7B-43096BD7B6FA}"/>
              </a:ext>
            </a:extLst>
          </p:cNvPr>
          <p:cNvSpPr/>
          <p:nvPr/>
        </p:nvSpPr>
        <p:spPr>
          <a:xfrm>
            <a:off x="366852" y="228614"/>
            <a:ext cx="11458296" cy="690843"/>
          </a:xfrm>
          <a:prstGeom prst="rect">
            <a:avLst/>
          </a:prstGeom>
          <a:solidFill>
            <a:srgbClr val="006633"/>
          </a:solidFill>
          <a:ln>
            <a:noFill/>
          </a:ln>
          <a:effectLst/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/>
          </a:p>
        </p:txBody>
      </p:sp>
      <p:sp>
        <p:nvSpPr>
          <p:cNvPr id="32" name="Title 1"/>
          <p:cNvSpPr txBox="1">
            <a:spLocks/>
          </p:cNvSpPr>
          <p:nvPr/>
        </p:nvSpPr>
        <p:spPr>
          <a:xfrm>
            <a:off x="733704" y="323024"/>
            <a:ext cx="10515600" cy="528108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0000"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sz="3600" b="1" dirty="0" smtClean="0">
                <a:solidFill>
                  <a:schemeClr val="bg1"/>
                </a:solidFill>
                <a:effectLst>
                  <a:outerShdw blurRad="50800" dist="50800" dir="5400000" algn="ctr" rotWithShape="0">
                    <a:srgbClr val="000000">
                      <a:alpha val="43137"/>
                    </a:srgbClr>
                  </a:outerShdw>
                </a:effectLst>
                <a:latin typeface="Franklin Gothic Book" panose="020B0503020102020204" pitchFamily="34" charset="0"/>
              </a:rPr>
              <a:t>Educational Master Plan Process &amp; Timeline</a:t>
            </a:r>
            <a:endParaRPr lang="en-US" sz="3600" b="1" dirty="0">
              <a:solidFill>
                <a:schemeClr val="bg1"/>
              </a:solidFill>
              <a:effectLst>
                <a:outerShdw blurRad="50800" dist="50800" dir="5400000" algn="ctr" rotWithShape="0">
                  <a:srgbClr val="000000">
                    <a:alpha val="43137"/>
                  </a:srgbClr>
                </a:outerShdw>
              </a:effectLst>
              <a:latin typeface="Franklin Gothic Book" panose="020B0503020102020204" pitchFamily="34" charset="0"/>
            </a:endParaRPr>
          </a:p>
        </p:txBody>
      </p:sp>
      <p:sp>
        <p:nvSpPr>
          <p:cNvPr id="33" name="Rectangle 9">
            <a:extLst>
              <a:ext uri="{FF2B5EF4-FFF2-40B4-BE49-F238E27FC236}">
                <a16:creationId xmlns:a16="http://schemas.microsoft.com/office/drawing/2014/main" id="{29C5912D-DD36-465B-BD92-BB0220505875}"/>
              </a:ext>
            </a:extLst>
          </p:cNvPr>
          <p:cNvSpPr/>
          <p:nvPr/>
        </p:nvSpPr>
        <p:spPr>
          <a:xfrm rot="10800000" flipH="1">
            <a:off x="366852" y="228614"/>
            <a:ext cx="1788160" cy="690775"/>
          </a:xfrm>
          <a:custGeom>
            <a:avLst/>
            <a:gdLst>
              <a:gd name="connsiteX0" fmla="*/ 0 w 1995342"/>
              <a:gd name="connsiteY0" fmla="*/ 0 h 690843"/>
              <a:gd name="connsiteX1" fmla="*/ 1995342 w 1995342"/>
              <a:gd name="connsiteY1" fmla="*/ 0 h 690843"/>
              <a:gd name="connsiteX2" fmla="*/ 1995342 w 1995342"/>
              <a:gd name="connsiteY2" fmla="*/ 690843 h 690843"/>
              <a:gd name="connsiteX3" fmla="*/ 0 w 1995342"/>
              <a:gd name="connsiteY3" fmla="*/ 690843 h 690843"/>
              <a:gd name="connsiteX4" fmla="*/ 0 w 1995342"/>
              <a:gd name="connsiteY4" fmla="*/ 0 h 690843"/>
              <a:gd name="connsiteX0" fmla="*/ 0 w 1995342"/>
              <a:gd name="connsiteY0" fmla="*/ 0 h 690843"/>
              <a:gd name="connsiteX1" fmla="*/ 1375630 w 1995342"/>
              <a:gd name="connsiteY1" fmla="*/ 0 h 690843"/>
              <a:gd name="connsiteX2" fmla="*/ 1995342 w 1995342"/>
              <a:gd name="connsiteY2" fmla="*/ 690843 h 690843"/>
              <a:gd name="connsiteX3" fmla="*/ 0 w 1995342"/>
              <a:gd name="connsiteY3" fmla="*/ 690843 h 690843"/>
              <a:gd name="connsiteX4" fmla="*/ 0 w 1995342"/>
              <a:gd name="connsiteY4" fmla="*/ 0 h 690843"/>
              <a:gd name="connsiteX0" fmla="*/ 0 w 1995342"/>
              <a:gd name="connsiteY0" fmla="*/ 0 h 690843"/>
              <a:gd name="connsiteX1" fmla="*/ 1427711 w 1995342"/>
              <a:gd name="connsiteY1" fmla="*/ 53873 h 690843"/>
              <a:gd name="connsiteX2" fmla="*/ 1995342 w 1995342"/>
              <a:gd name="connsiteY2" fmla="*/ 690843 h 690843"/>
              <a:gd name="connsiteX3" fmla="*/ 0 w 1995342"/>
              <a:gd name="connsiteY3" fmla="*/ 690843 h 690843"/>
              <a:gd name="connsiteX4" fmla="*/ 0 w 1995342"/>
              <a:gd name="connsiteY4" fmla="*/ 0 h 690843"/>
              <a:gd name="connsiteX0" fmla="*/ 26571 w 1995342"/>
              <a:gd name="connsiteY0" fmla="*/ 15898 h 636970"/>
              <a:gd name="connsiteX1" fmla="*/ 1427711 w 1995342"/>
              <a:gd name="connsiteY1" fmla="*/ 0 h 636970"/>
              <a:gd name="connsiteX2" fmla="*/ 1995342 w 1995342"/>
              <a:gd name="connsiteY2" fmla="*/ 636970 h 636970"/>
              <a:gd name="connsiteX3" fmla="*/ 0 w 1995342"/>
              <a:gd name="connsiteY3" fmla="*/ 636970 h 636970"/>
              <a:gd name="connsiteX4" fmla="*/ 26571 w 1995342"/>
              <a:gd name="connsiteY4" fmla="*/ 15898 h 636970"/>
              <a:gd name="connsiteX0" fmla="*/ 0 w 1995342"/>
              <a:gd name="connsiteY0" fmla="*/ 0 h 640502"/>
              <a:gd name="connsiteX1" fmla="*/ 1427711 w 1995342"/>
              <a:gd name="connsiteY1" fmla="*/ 3532 h 640502"/>
              <a:gd name="connsiteX2" fmla="*/ 1995342 w 1995342"/>
              <a:gd name="connsiteY2" fmla="*/ 640502 h 640502"/>
              <a:gd name="connsiteX3" fmla="*/ 0 w 1995342"/>
              <a:gd name="connsiteY3" fmla="*/ 640502 h 640502"/>
              <a:gd name="connsiteX4" fmla="*/ 0 w 1995342"/>
              <a:gd name="connsiteY4" fmla="*/ 0 h 640502"/>
              <a:gd name="connsiteX0" fmla="*/ 0 w 1995342"/>
              <a:gd name="connsiteY0" fmla="*/ 0 h 640502"/>
              <a:gd name="connsiteX1" fmla="*/ 1420271 w 1995342"/>
              <a:gd name="connsiteY1" fmla="*/ 1765 h 640502"/>
              <a:gd name="connsiteX2" fmla="*/ 1995342 w 1995342"/>
              <a:gd name="connsiteY2" fmla="*/ 640502 h 640502"/>
              <a:gd name="connsiteX3" fmla="*/ 0 w 1995342"/>
              <a:gd name="connsiteY3" fmla="*/ 640502 h 640502"/>
              <a:gd name="connsiteX4" fmla="*/ 0 w 1995342"/>
              <a:gd name="connsiteY4" fmla="*/ 0 h 640502"/>
              <a:gd name="connsiteX0" fmla="*/ 0 w 1995342"/>
              <a:gd name="connsiteY0" fmla="*/ 0 h 640502"/>
              <a:gd name="connsiteX1" fmla="*/ 1439402 w 1995342"/>
              <a:gd name="connsiteY1" fmla="*/ 3532 h 640502"/>
              <a:gd name="connsiteX2" fmla="*/ 1995342 w 1995342"/>
              <a:gd name="connsiteY2" fmla="*/ 640502 h 640502"/>
              <a:gd name="connsiteX3" fmla="*/ 0 w 1995342"/>
              <a:gd name="connsiteY3" fmla="*/ 640502 h 640502"/>
              <a:gd name="connsiteX4" fmla="*/ 0 w 1995342"/>
              <a:gd name="connsiteY4" fmla="*/ 0 h 640502"/>
              <a:gd name="connsiteX0" fmla="*/ 0 w 1995342"/>
              <a:gd name="connsiteY0" fmla="*/ 0 h 640502"/>
              <a:gd name="connsiteX1" fmla="*/ 1441528 w 1995342"/>
              <a:gd name="connsiteY1" fmla="*/ 1765 h 640502"/>
              <a:gd name="connsiteX2" fmla="*/ 1995342 w 1995342"/>
              <a:gd name="connsiteY2" fmla="*/ 640502 h 640502"/>
              <a:gd name="connsiteX3" fmla="*/ 0 w 1995342"/>
              <a:gd name="connsiteY3" fmla="*/ 640502 h 640502"/>
              <a:gd name="connsiteX4" fmla="*/ 0 w 1995342"/>
              <a:gd name="connsiteY4" fmla="*/ 0 h 640502"/>
              <a:gd name="connsiteX0" fmla="*/ 0 w 1995342"/>
              <a:gd name="connsiteY0" fmla="*/ 0 h 640502"/>
              <a:gd name="connsiteX1" fmla="*/ 1442591 w 1995342"/>
              <a:gd name="connsiteY1" fmla="*/ 882 h 640502"/>
              <a:gd name="connsiteX2" fmla="*/ 1995342 w 1995342"/>
              <a:gd name="connsiteY2" fmla="*/ 640502 h 640502"/>
              <a:gd name="connsiteX3" fmla="*/ 0 w 1995342"/>
              <a:gd name="connsiteY3" fmla="*/ 640502 h 640502"/>
              <a:gd name="connsiteX4" fmla="*/ 0 w 1995342"/>
              <a:gd name="connsiteY4" fmla="*/ 0 h 6405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95342" h="640502">
                <a:moveTo>
                  <a:pt x="0" y="0"/>
                </a:moveTo>
                <a:lnTo>
                  <a:pt x="1442591" y="882"/>
                </a:lnTo>
                <a:lnTo>
                  <a:pt x="1995342" y="640502"/>
                </a:lnTo>
                <a:lnTo>
                  <a:pt x="0" y="640502"/>
                </a:lnTo>
                <a:lnTo>
                  <a:pt x="0" y="0"/>
                </a:lnTo>
                <a:close/>
              </a:path>
            </a:pathLst>
          </a:custGeom>
          <a:ln>
            <a:noFill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sz="1100" dirty="0"/>
          </a:p>
        </p:txBody>
      </p:sp>
    </p:spTree>
    <p:extLst>
      <p:ext uri="{BB962C8B-B14F-4D97-AF65-F5344CB8AC3E}">
        <p14:creationId xmlns:p14="http://schemas.microsoft.com/office/powerpoint/2010/main" val="2332484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04535" y="171615"/>
            <a:ext cx="10353762" cy="970450"/>
          </a:xfrm>
        </p:spPr>
        <p:txBody>
          <a:bodyPr/>
          <a:lstStyle/>
          <a:p>
            <a:r>
              <a:rPr lang="en-US" dirty="0"/>
              <a:t>Educational Master Planning Process &amp; Timeline</a:t>
            </a:r>
          </a:p>
        </p:txBody>
      </p:sp>
      <p:graphicFrame>
        <p:nvGraphicFramePr>
          <p:cNvPr id="4" name="Diagram 3"/>
          <p:cNvGraphicFramePr/>
          <p:nvPr>
            <p:extLst/>
          </p:nvPr>
        </p:nvGraphicFramePr>
        <p:xfrm>
          <a:off x="435441" y="-508801"/>
          <a:ext cx="11588236" cy="541866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6" name="TextBox 5"/>
          <p:cNvSpPr txBox="1"/>
          <p:nvPr/>
        </p:nvSpPr>
        <p:spPr>
          <a:xfrm>
            <a:off x="1023576" y="1661193"/>
            <a:ext cx="135344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Winter 2021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3942776" y="1661193"/>
            <a:ext cx="129715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pring 2021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6805679" y="1661193"/>
            <a:ext cx="173925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eptember 2021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9714926" y="1661193"/>
            <a:ext cx="146963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ctober 2021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10" name="Diagram 9"/>
          <p:cNvGraphicFramePr/>
          <p:nvPr>
            <p:extLst/>
          </p:nvPr>
        </p:nvGraphicFramePr>
        <p:xfrm>
          <a:off x="435441" y="1357445"/>
          <a:ext cx="11588236" cy="541866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sp>
        <p:nvSpPr>
          <p:cNvPr id="11" name="TextBox 10"/>
          <p:cNvSpPr txBox="1"/>
          <p:nvPr/>
        </p:nvSpPr>
        <p:spPr>
          <a:xfrm>
            <a:off x="1023576" y="3595511"/>
            <a:ext cx="146963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ctober 2021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3942776" y="3595511"/>
            <a:ext cx="16946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ovember 2021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6805679" y="3595511"/>
            <a:ext cx="167866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cember 2021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9714926" y="3595511"/>
            <a:ext cx="154337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ebruary 2022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15" name="Diagram 14"/>
          <p:cNvGraphicFramePr/>
          <p:nvPr>
            <p:extLst/>
          </p:nvPr>
        </p:nvGraphicFramePr>
        <p:xfrm>
          <a:off x="435441" y="3147304"/>
          <a:ext cx="11588236" cy="541866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2" r:lo="rId13" r:qs="rId14" r:cs="rId15"/>
          </a:graphicData>
        </a:graphic>
      </p:graphicFrame>
      <p:sp>
        <p:nvSpPr>
          <p:cNvPr id="16" name="TextBox 15"/>
          <p:cNvSpPr txBox="1"/>
          <p:nvPr/>
        </p:nvSpPr>
        <p:spPr>
          <a:xfrm>
            <a:off x="1066792" y="5371997"/>
            <a:ext cx="154337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ebruary 2022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3985992" y="5371997"/>
            <a:ext cx="130978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arch 2022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6848895" y="5371997"/>
            <a:ext cx="114646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pril 2022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9758142" y="5371997"/>
            <a:ext cx="111331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ay 2022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BF518A3A-ECE0-42A2-BD7B-43096BD7B6FA}"/>
              </a:ext>
            </a:extLst>
          </p:cNvPr>
          <p:cNvSpPr/>
          <p:nvPr/>
        </p:nvSpPr>
        <p:spPr>
          <a:xfrm>
            <a:off x="366852" y="228614"/>
            <a:ext cx="11458296" cy="690843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  <a:effectLst/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/>
          </a:p>
        </p:txBody>
      </p:sp>
      <p:sp>
        <p:nvSpPr>
          <p:cNvPr id="21" name="Title 1"/>
          <p:cNvSpPr txBox="1">
            <a:spLocks/>
          </p:cNvSpPr>
          <p:nvPr/>
        </p:nvSpPr>
        <p:spPr>
          <a:xfrm>
            <a:off x="733704" y="323024"/>
            <a:ext cx="10515600" cy="528108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0000"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sz="3600" b="1" dirty="0" smtClean="0">
                <a:solidFill>
                  <a:schemeClr val="bg1"/>
                </a:solidFill>
                <a:effectLst>
                  <a:outerShdw blurRad="50800" dist="50800" dir="5400000" algn="ctr" rotWithShape="0">
                    <a:srgbClr val="000000">
                      <a:alpha val="43137"/>
                    </a:srgbClr>
                  </a:outerShdw>
                </a:effectLst>
                <a:latin typeface="Franklin Gothic Book" panose="020B0503020102020204" pitchFamily="34" charset="0"/>
              </a:rPr>
              <a:t>Educational Master Plan Timeline</a:t>
            </a:r>
            <a:endParaRPr lang="en-US" sz="3600" b="1" dirty="0">
              <a:solidFill>
                <a:schemeClr val="bg1"/>
              </a:solidFill>
              <a:effectLst>
                <a:outerShdw blurRad="50800" dist="50800" dir="5400000" algn="ctr" rotWithShape="0">
                  <a:srgbClr val="000000">
                    <a:alpha val="43137"/>
                  </a:srgbClr>
                </a:outerShdw>
              </a:effectLst>
              <a:latin typeface="Franklin Gothic Book" panose="020B0503020102020204" pitchFamily="34" charset="0"/>
            </a:endParaRPr>
          </a:p>
        </p:txBody>
      </p:sp>
      <p:sp>
        <p:nvSpPr>
          <p:cNvPr id="22" name="Rectangle 9">
            <a:extLst>
              <a:ext uri="{FF2B5EF4-FFF2-40B4-BE49-F238E27FC236}">
                <a16:creationId xmlns:a16="http://schemas.microsoft.com/office/drawing/2014/main" id="{29C5912D-DD36-465B-BD92-BB0220505875}"/>
              </a:ext>
            </a:extLst>
          </p:cNvPr>
          <p:cNvSpPr/>
          <p:nvPr/>
        </p:nvSpPr>
        <p:spPr>
          <a:xfrm rot="10800000" flipH="1">
            <a:off x="366852" y="228614"/>
            <a:ext cx="1788160" cy="690775"/>
          </a:xfrm>
          <a:custGeom>
            <a:avLst/>
            <a:gdLst>
              <a:gd name="connsiteX0" fmla="*/ 0 w 1995342"/>
              <a:gd name="connsiteY0" fmla="*/ 0 h 690843"/>
              <a:gd name="connsiteX1" fmla="*/ 1995342 w 1995342"/>
              <a:gd name="connsiteY1" fmla="*/ 0 h 690843"/>
              <a:gd name="connsiteX2" fmla="*/ 1995342 w 1995342"/>
              <a:gd name="connsiteY2" fmla="*/ 690843 h 690843"/>
              <a:gd name="connsiteX3" fmla="*/ 0 w 1995342"/>
              <a:gd name="connsiteY3" fmla="*/ 690843 h 690843"/>
              <a:gd name="connsiteX4" fmla="*/ 0 w 1995342"/>
              <a:gd name="connsiteY4" fmla="*/ 0 h 690843"/>
              <a:gd name="connsiteX0" fmla="*/ 0 w 1995342"/>
              <a:gd name="connsiteY0" fmla="*/ 0 h 690843"/>
              <a:gd name="connsiteX1" fmla="*/ 1375630 w 1995342"/>
              <a:gd name="connsiteY1" fmla="*/ 0 h 690843"/>
              <a:gd name="connsiteX2" fmla="*/ 1995342 w 1995342"/>
              <a:gd name="connsiteY2" fmla="*/ 690843 h 690843"/>
              <a:gd name="connsiteX3" fmla="*/ 0 w 1995342"/>
              <a:gd name="connsiteY3" fmla="*/ 690843 h 690843"/>
              <a:gd name="connsiteX4" fmla="*/ 0 w 1995342"/>
              <a:gd name="connsiteY4" fmla="*/ 0 h 690843"/>
              <a:gd name="connsiteX0" fmla="*/ 0 w 1995342"/>
              <a:gd name="connsiteY0" fmla="*/ 0 h 690843"/>
              <a:gd name="connsiteX1" fmla="*/ 1427711 w 1995342"/>
              <a:gd name="connsiteY1" fmla="*/ 53873 h 690843"/>
              <a:gd name="connsiteX2" fmla="*/ 1995342 w 1995342"/>
              <a:gd name="connsiteY2" fmla="*/ 690843 h 690843"/>
              <a:gd name="connsiteX3" fmla="*/ 0 w 1995342"/>
              <a:gd name="connsiteY3" fmla="*/ 690843 h 690843"/>
              <a:gd name="connsiteX4" fmla="*/ 0 w 1995342"/>
              <a:gd name="connsiteY4" fmla="*/ 0 h 690843"/>
              <a:gd name="connsiteX0" fmla="*/ 26571 w 1995342"/>
              <a:gd name="connsiteY0" fmla="*/ 15898 h 636970"/>
              <a:gd name="connsiteX1" fmla="*/ 1427711 w 1995342"/>
              <a:gd name="connsiteY1" fmla="*/ 0 h 636970"/>
              <a:gd name="connsiteX2" fmla="*/ 1995342 w 1995342"/>
              <a:gd name="connsiteY2" fmla="*/ 636970 h 636970"/>
              <a:gd name="connsiteX3" fmla="*/ 0 w 1995342"/>
              <a:gd name="connsiteY3" fmla="*/ 636970 h 636970"/>
              <a:gd name="connsiteX4" fmla="*/ 26571 w 1995342"/>
              <a:gd name="connsiteY4" fmla="*/ 15898 h 636970"/>
              <a:gd name="connsiteX0" fmla="*/ 0 w 1995342"/>
              <a:gd name="connsiteY0" fmla="*/ 0 h 640502"/>
              <a:gd name="connsiteX1" fmla="*/ 1427711 w 1995342"/>
              <a:gd name="connsiteY1" fmla="*/ 3532 h 640502"/>
              <a:gd name="connsiteX2" fmla="*/ 1995342 w 1995342"/>
              <a:gd name="connsiteY2" fmla="*/ 640502 h 640502"/>
              <a:gd name="connsiteX3" fmla="*/ 0 w 1995342"/>
              <a:gd name="connsiteY3" fmla="*/ 640502 h 640502"/>
              <a:gd name="connsiteX4" fmla="*/ 0 w 1995342"/>
              <a:gd name="connsiteY4" fmla="*/ 0 h 640502"/>
              <a:gd name="connsiteX0" fmla="*/ 0 w 1995342"/>
              <a:gd name="connsiteY0" fmla="*/ 0 h 640502"/>
              <a:gd name="connsiteX1" fmla="*/ 1420271 w 1995342"/>
              <a:gd name="connsiteY1" fmla="*/ 1765 h 640502"/>
              <a:gd name="connsiteX2" fmla="*/ 1995342 w 1995342"/>
              <a:gd name="connsiteY2" fmla="*/ 640502 h 640502"/>
              <a:gd name="connsiteX3" fmla="*/ 0 w 1995342"/>
              <a:gd name="connsiteY3" fmla="*/ 640502 h 640502"/>
              <a:gd name="connsiteX4" fmla="*/ 0 w 1995342"/>
              <a:gd name="connsiteY4" fmla="*/ 0 h 640502"/>
              <a:gd name="connsiteX0" fmla="*/ 0 w 1995342"/>
              <a:gd name="connsiteY0" fmla="*/ 0 h 640502"/>
              <a:gd name="connsiteX1" fmla="*/ 1439402 w 1995342"/>
              <a:gd name="connsiteY1" fmla="*/ 3532 h 640502"/>
              <a:gd name="connsiteX2" fmla="*/ 1995342 w 1995342"/>
              <a:gd name="connsiteY2" fmla="*/ 640502 h 640502"/>
              <a:gd name="connsiteX3" fmla="*/ 0 w 1995342"/>
              <a:gd name="connsiteY3" fmla="*/ 640502 h 640502"/>
              <a:gd name="connsiteX4" fmla="*/ 0 w 1995342"/>
              <a:gd name="connsiteY4" fmla="*/ 0 h 640502"/>
              <a:gd name="connsiteX0" fmla="*/ 0 w 1995342"/>
              <a:gd name="connsiteY0" fmla="*/ 0 h 640502"/>
              <a:gd name="connsiteX1" fmla="*/ 1441528 w 1995342"/>
              <a:gd name="connsiteY1" fmla="*/ 1765 h 640502"/>
              <a:gd name="connsiteX2" fmla="*/ 1995342 w 1995342"/>
              <a:gd name="connsiteY2" fmla="*/ 640502 h 640502"/>
              <a:gd name="connsiteX3" fmla="*/ 0 w 1995342"/>
              <a:gd name="connsiteY3" fmla="*/ 640502 h 640502"/>
              <a:gd name="connsiteX4" fmla="*/ 0 w 1995342"/>
              <a:gd name="connsiteY4" fmla="*/ 0 h 640502"/>
              <a:gd name="connsiteX0" fmla="*/ 0 w 1995342"/>
              <a:gd name="connsiteY0" fmla="*/ 0 h 640502"/>
              <a:gd name="connsiteX1" fmla="*/ 1442591 w 1995342"/>
              <a:gd name="connsiteY1" fmla="*/ 882 h 640502"/>
              <a:gd name="connsiteX2" fmla="*/ 1995342 w 1995342"/>
              <a:gd name="connsiteY2" fmla="*/ 640502 h 640502"/>
              <a:gd name="connsiteX3" fmla="*/ 0 w 1995342"/>
              <a:gd name="connsiteY3" fmla="*/ 640502 h 640502"/>
              <a:gd name="connsiteX4" fmla="*/ 0 w 1995342"/>
              <a:gd name="connsiteY4" fmla="*/ 0 h 6405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95342" h="640502">
                <a:moveTo>
                  <a:pt x="0" y="0"/>
                </a:moveTo>
                <a:lnTo>
                  <a:pt x="1442591" y="882"/>
                </a:lnTo>
                <a:lnTo>
                  <a:pt x="1995342" y="640502"/>
                </a:lnTo>
                <a:lnTo>
                  <a:pt x="0" y="640502"/>
                </a:lnTo>
                <a:lnTo>
                  <a:pt x="0" y="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sz="1100" dirty="0"/>
          </a:p>
        </p:txBody>
      </p:sp>
    </p:spTree>
    <p:extLst>
      <p:ext uri="{BB962C8B-B14F-4D97-AF65-F5344CB8AC3E}">
        <p14:creationId xmlns:p14="http://schemas.microsoft.com/office/powerpoint/2010/main" val="14716176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968420B0-056F-4AF9-A981-CF35673B7397}"/>
              </a:ext>
            </a:extLst>
          </p:cNvPr>
          <p:cNvSpPr/>
          <p:nvPr/>
        </p:nvSpPr>
        <p:spPr>
          <a:xfrm rot="10800000">
            <a:off x="5635326" y="3905283"/>
            <a:ext cx="4054584" cy="605367"/>
          </a:xfrm>
          <a:prstGeom prst="rect">
            <a:avLst/>
          </a:prstGeom>
          <a:gradFill>
            <a:gsLst>
              <a:gs pos="0">
                <a:schemeClr val="bg1">
                  <a:lumMod val="95000"/>
                </a:schemeClr>
              </a:gs>
              <a:gs pos="50000">
                <a:schemeClr val="bg1">
                  <a:lumMod val="95000"/>
                </a:schemeClr>
              </a:gs>
              <a:gs pos="100000">
                <a:schemeClr val="bg1">
                  <a:lumMod val="85000"/>
                </a:schemeClr>
              </a:gs>
            </a:gsLst>
          </a:gradFill>
          <a:ln>
            <a:noFill/>
          </a:ln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BF518A3A-ECE0-42A2-BD7B-43096BD7B6FA}"/>
              </a:ext>
            </a:extLst>
          </p:cNvPr>
          <p:cNvSpPr/>
          <p:nvPr/>
        </p:nvSpPr>
        <p:spPr>
          <a:xfrm>
            <a:off x="366852" y="228614"/>
            <a:ext cx="11458296" cy="690843"/>
          </a:xfrm>
          <a:prstGeom prst="rect">
            <a:avLst/>
          </a:prstGeom>
          <a:solidFill>
            <a:srgbClr val="006633"/>
          </a:solidFill>
          <a:ln>
            <a:noFill/>
          </a:ln>
          <a:effectLst/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/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733704" y="298960"/>
            <a:ext cx="10515600" cy="528108"/>
          </a:xfrm>
        </p:spPr>
        <p:txBody>
          <a:bodyPr>
            <a:normAutofit fontScale="90000"/>
          </a:bodyPr>
          <a:lstStyle/>
          <a:p>
            <a:pPr algn="ctr"/>
            <a:r>
              <a:rPr lang="en-US" sz="3600" b="1" dirty="0" err="1">
                <a:solidFill>
                  <a:schemeClr val="bg1"/>
                </a:solidFill>
                <a:effectLst>
                  <a:outerShdw blurRad="50800" dist="50800" dir="5400000" algn="ctr" rotWithShape="0">
                    <a:srgbClr val="000000">
                      <a:alpha val="43137"/>
                    </a:srgbClr>
                  </a:outerShdw>
                </a:effectLst>
                <a:latin typeface="Franklin Gothic Book" panose="020B0503020102020204" pitchFamily="34" charset="0"/>
              </a:rPr>
              <a:t>Cañada</a:t>
            </a:r>
            <a:r>
              <a:rPr lang="en-US" sz="3600" b="1" dirty="0">
                <a:solidFill>
                  <a:schemeClr val="bg1"/>
                </a:solidFill>
                <a:effectLst>
                  <a:outerShdw blurRad="50800" dist="50800" dir="5400000" algn="ctr" rotWithShape="0">
                    <a:srgbClr val="000000">
                      <a:alpha val="43137"/>
                    </a:srgbClr>
                  </a:outerShdw>
                </a:effectLst>
                <a:latin typeface="Franklin Gothic Book" panose="020B0503020102020204" pitchFamily="34" charset="0"/>
              </a:rPr>
              <a:t> College – 25 Years Service Awards</a:t>
            </a:r>
          </a:p>
        </p:txBody>
      </p:sp>
      <p:sp>
        <p:nvSpPr>
          <p:cNvPr id="6" name="Rectangle 9">
            <a:extLst>
              <a:ext uri="{FF2B5EF4-FFF2-40B4-BE49-F238E27FC236}">
                <a16:creationId xmlns:a16="http://schemas.microsoft.com/office/drawing/2014/main" id="{29C5912D-DD36-465B-BD92-BB0220505875}"/>
              </a:ext>
            </a:extLst>
          </p:cNvPr>
          <p:cNvSpPr/>
          <p:nvPr/>
        </p:nvSpPr>
        <p:spPr>
          <a:xfrm rot="10800000" flipH="1">
            <a:off x="366852" y="228614"/>
            <a:ext cx="1788160" cy="690775"/>
          </a:xfrm>
          <a:custGeom>
            <a:avLst/>
            <a:gdLst>
              <a:gd name="connsiteX0" fmla="*/ 0 w 1995342"/>
              <a:gd name="connsiteY0" fmla="*/ 0 h 690843"/>
              <a:gd name="connsiteX1" fmla="*/ 1995342 w 1995342"/>
              <a:gd name="connsiteY1" fmla="*/ 0 h 690843"/>
              <a:gd name="connsiteX2" fmla="*/ 1995342 w 1995342"/>
              <a:gd name="connsiteY2" fmla="*/ 690843 h 690843"/>
              <a:gd name="connsiteX3" fmla="*/ 0 w 1995342"/>
              <a:gd name="connsiteY3" fmla="*/ 690843 h 690843"/>
              <a:gd name="connsiteX4" fmla="*/ 0 w 1995342"/>
              <a:gd name="connsiteY4" fmla="*/ 0 h 690843"/>
              <a:gd name="connsiteX0" fmla="*/ 0 w 1995342"/>
              <a:gd name="connsiteY0" fmla="*/ 0 h 690843"/>
              <a:gd name="connsiteX1" fmla="*/ 1375630 w 1995342"/>
              <a:gd name="connsiteY1" fmla="*/ 0 h 690843"/>
              <a:gd name="connsiteX2" fmla="*/ 1995342 w 1995342"/>
              <a:gd name="connsiteY2" fmla="*/ 690843 h 690843"/>
              <a:gd name="connsiteX3" fmla="*/ 0 w 1995342"/>
              <a:gd name="connsiteY3" fmla="*/ 690843 h 690843"/>
              <a:gd name="connsiteX4" fmla="*/ 0 w 1995342"/>
              <a:gd name="connsiteY4" fmla="*/ 0 h 690843"/>
              <a:gd name="connsiteX0" fmla="*/ 0 w 1995342"/>
              <a:gd name="connsiteY0" fmla="*/ 0 h 690843"/>
              <a:gd name="connsiteX1" fmla="*/ 1427711 w 1995342"/>
              <a:gd name="connsiteY1" fmla="*/ 53873 h 690843"/>
              <a:gd name="connsiteX2" fmla="*/ 1995342 w 1995342"/>
              <a:gd name="connsiteY2" fmla="*/ 690843 h 690843"/>
              <a:gd name="connsiteX3" fmla="*/ 0 w 1995342"/>
              <a:gd name="connsiteY3" fmla="*/ 690843 h 690843"/>
              <a:gd name="connsiteX4" fmla="*/ 0 w 1995342"/>
              <a:gd name="connsiteY4" fmla="*/ 0 h 690843"/>
              <a:gd name="connsiteX0" fmla="*/ 26571 w 1995342"/>
              <a:gd name="connsiteY0" fmla="*/ 15898 h 636970"/>
              <a:gd name="connsiteX1" fmla="*/ 1427711 w 1995342"/>
              <a:gd name="connsiteY1" fmla="*/ 0 h 636970"/>
              <a:gd name="connsiteX2" fmla="*/ 1995342 w 1995342"/>
              <a:gd name="connsiteY2" fmla="*/ 636970 h 636970"/>
              <a:gd name="connsiteX3" fmla="*/ 0 w 1995342"/>
              <a:gd name="connsiteY3" fmla="*/ 636970 h 636970"/>
              <a:gd name="connsiteX4" fmla="*/ 26571 w 1995342"/>
              <a:gd name="connsiteY4" fmla="*/ 15898 h 636970"/>
              <a:gd name="connsiteX0" fmla="*/ 0 w 1995342"/>
              <a:gd name="connsiteY0" fmla="*/ 0 h 640502"/>
              <a:gd name="connsiteX1" fmla="*/ 1427711 w 1995342"/>
              <a:gd name="connsiteY1" fmla="*/ 3532 h 640502"/>
              <a:gd name="connsiteX2" fmla="*/ 1995342 w 1995342"/>
              <a:gd name="connsiteY2" fmla="*/ 640502 h 640502"/>
              <a:gd name="connsiteX3" fmla="*/ 0 w 1995342"/>
              <a:gd name="connsiteY3" fmla="*/ 640502 h 640502"/>
              <a:gd name="connsiteX4" fmla="*/ 0 w 1995342"/>
              <a:gd name="connsiteY4" fmla="*/ 0 h 640502"/>
              <a:gd name="connsiteX0" fmla="*/ 0 w 1995342"/>
              <a:gd name="connsiteY0" fmla="*/ 0 h 640502"/>
              <a:gd name="connsiteX1" fmla="*/ 1420271 w 1995342"/>
              <a:gd name="connsiteY1" fmla="*/ 1765 h 640502"/>
              <a:gd name="connsiteX2" fmla="*/ 1995342 w 1995342"/>
              <a:gd name="connsiteY2" fmla="*/ 640502 h 640502"/>
              <a:gd name="connsiteX3" fmla="*/ 0 w 1995342"/>
              <a:gd name="connsiteY3" fmla="*/ 640502 h 640502"/>
              <a:gd name="connsiteX4" fmla="*/ 0 w 1995342"/>
              <a:gd name="connsiteY4" fmla="*/ 0 h 640502"/>
              <a:gd name="connsiteX0" fmla="*/ 0 w 1995342"/>
              <a:gd name="connsiteY0" fmla="*/ 0 h 640502"/>
              <a:gd name="connsiteX1" fmla="*/ 1439402 w 1995342"/>
              <a:gd name="connsiteY1" fmla="*/ 3532 h 640502"/>
              <a:gd name="connsiteX2" fmla="*/ 1995342 w 1995342"/>
              <a:gd name="connsiteY2" fmla="*/ 640502 h 640502"/>
              <a:gd name="connsiteX3" fmla="*/ 0 w 1995342"/>
              <a:gd name="connsiteY3" fmla="*/ 640502 h 640502"/>
              <a:gd name="connsiteX4" fmla="*/ 0 w 1995342"/>
              <a:gd name="connsiteY4" fmla="*/ 0 h 640502"/>
              <a:gd name="connsiteX0" fmla="*/ 0 w 1995342"/>
              <a:gd name="connsiteY0" fmla="*/ 0 h 640502"/>
              <a:gd name="connsiteX1" fmla="*/ 1441528 w 1995342"/>
              <a:gd name="connsiteY1" fmla="*/ 1765 h 640502"/>
              <a:gd name="connsiteX2" fmla="*/ 1995342 w 1995342"/>
              <a:gd name="connsiteY2" fmla="*/ 640502 h 640502"/>
              <a:gd name="connsiteX3" fmla="*/ 0 w 1995342"/>
              <a:gd name="connsiteY3" fmla="*/ 640502 h 640502"/>
              <a:gd name="connsiteX4" fmla="*/ 0 w 1995342"/>
              <a:gd name="connsiteY4" fmla="*/ 0 h 640502"/>
              <a:gd name="connsiteX0" fmla="*/ 0 w 1995342"/>
              <a:gd name="connsiteY0" fmla="*/ 0 h 640502"/>
              <a:gd name="connsiteX1" fmla="*/ 1442591 w 1995342"/>
              <a:gd name="connsiteY1" fmla="*/ 882 h 640502"/>
              <a:gd name="connsiteX2" fmla="*/ 1995342 w 1995342"/>
              <a:gd name="connsiteY2" fmla="*/ 640502 h 640502"/>
              <a:gd name="connsiteX3" fmla="*/ 0 w 1995342"/>
              <a:gd name="connsiteY3" fmla="*/ 640502 h 640502"/>
              <a:gd name="connsiteX4" fmla="*/ 0 w 1995342"/>
              <a:gd name="connsiteY4" fmla="*/ 0 h 6405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95342" h="640502">
                <a:moveTo>
                  <a:pt x="0" y="0"/>
                </a:moveTo>
                <a:lnTo>
                  <a:pt x="1442591" y="882"/>
                </a:lnTo>
                <a:lnTo>
                  <a:pt x="1995342" y="640502"/>
                </a:lnTo>
                <a:lnTo>
                  <a:pt x="0" y="640502"/>
                </a:lnTo>
                <a:lnTo>
                  <a:pt x="0" y="0"/>
                </a:lnTo>
                <a:close/>
              </a:path>
            </a:pathLst>
          </a:custGeom>
          <a:ln>
            <a:noFill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sz="1100" dirty="0"/>
          </a:p>
        </p:txBody>
      </p:sp>
      <p:pic>
        <p:nvPicPr>
          <p:cNvPr id="7" name="Content Placeholder 6">
            <a:extLst>
              <a:ext uri="{FF2B5EF4-FFF2-40B4-BE49-F238E27FC236}">
                <a16:creationId xmlns:a16="http://schemas.microsoft.com/office/drawing/2014/main" id="{4E309508-96F4-4FD8-975B-7940E5B41E65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415" b="27919"/>
          <a:stretch/>
        </p:blipFill>
        <p:spPr>
          <a:xfrm>
            <a:off x="1676182" y="1480384"/>
            <a:ext cx="4114800" cy="4114800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A706A127-5D94-4F71-B4B9-A46D6E6F1079}"/>
              </a:ext>
            </a:extLst>
          </p:cNvPr>
          <p:cNvSpPr txBox="1">
            <a:spLocks/>
          </p:cNvSpPr>
          <p:nvPr/>
        </p:nvSpPr>
        <p:spPr>
          <a:xfrm>
            <a:off x="6314364" y="3961675"/>
            <a:ext cx="3853217" cy="702691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3200" dirty="0">
                <a:solidFill>
                  <a:srgbClr val="006633"/>
                </a:solidFill>
                <a:latin typeface="Franklin Gothic Medium" panose="020B0603020102020204" pitchFamily="34" charset="0"/>
              </a:rPr>
              <a:t>Althea </a:t>
            </a:r>
            <a:r>
              <a:rPr lang="en-US" sz="3200" dirty="0" err="1">
                <a:solidFill>
                  <a:srgbClr val="006633"/>
                </a:solidFill>
                <a:latin typeface="Franklin Gothic Medium" panose="020B0603020102020204" pitchFamily="34" charset="0"/>
              </a:rPr>
              <a:t>Kippes</a:t>
            </a:r>
            <a:endParaRPr lang="en-US" sz="3200" dirty="0">
              <a:solidFill>
                <a:srgbClr val="006633"/>
              </a:solidFill>
              <a:latin typeface="Franklin Gothic Medium" panose="020B0603020102020204" pitchFamily="34" charset="0"/>
            </a:endParaRPr>
          </a:p>
        </p:txBody>
      </p:sp>
      <p:sp>
        <p:nvSpPr>
          <p:cNvPr id="10" name="Content Placeholder 2"/>
          <p:cNvSpPr>
            <a:spLocks noGrp="1"/>
          </p:cNvSpPr>
          <p:nvPr>
            <p:ph idx="1"/>
          </p:nvPr>
        </p:nvSpPr>
        <p:spPr>
          <a:xfrm>
            <a:off x="6314364" y="4732607"/>
            <a:ext cx="5510783" cy="1627250"/>
          </a:xfrm>
        </p:spPr>
        <p:txBody>
          <a:bodyPr/>
          <a:lstStyle/>
          <a:p>
            <a:pPr marL="0" indent="0">
              <a:buNone/>
            </a:pPr>
            <a:r>
              <a:rPr lang="en-US" dirty="0">
                <a:solidFill>
                  <a:srgbClr val="006633"/>
                </a:solidFill>
                <a:latin typeface="Adobe Garamond Pro" panose="02020502060506020403" pitchFamily="18" charset="0"/>
              </a:rPr>
              <a:t>Associate Professor, Business/Paralegal and Paralegal Program Coordinator</a:t>
            </a:r>
          </a:p>
        </p:txBody>
      </p:sp>
    </p:spTree>
    <p:extLst>
      <p:ext uri="{BB962C8B-B14F-4D97-AF65-F5344CB8AC3E}">
        <p14:creationId xmlns:p14="http://schemas.microsoft.com/office/powerpoint/2010/main" val="363317712"/>
      </p:ext>
    </p:extLst>
  </p:cSld>
  <p:clrMapOvr>
    <a:masterClrMapping/>
  </p:clrMapOvr>
  <p:transition spd="slow">
    <p:cover/>
  </p:transition>
  <p:timing>
    <p:tnLst>
      <p:par>
        <p:cTn id="1" dur="indefinite" restart="never" nodeType="tmRoot"/>
      </p:par>
    </p:tnLst>
  </p:timing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All meetings open to everyone</a:t>
            </a:r>
          </a:p>
          <a:p>
            <a:r>
              <a:rPr lang="en-US" dirty="0"/>
              <a:t>Agendas, Zoom links, meeting materials and minutes are posted here:  </a:t>
            </a:r>
            <a:r>
              <a:rPr lang="en-US" dirty="0">
                <a:hlinkClick r:id="rId2"/>
              </a:rPr>
              <a:t>https://canadacollege.edu/emp/meetings.php</a:t>
            </a:r>
            <a:endParaRPr lang="en-US" dirty="0"/>
          </a:p>
          <a:p>
            <a:r>
              <a:rPr lang="en-US" dirty="0"/>
              <a:t>Data and other resources EMP Task Force will be considering are posted here: </a:t>
            </a:r>
            <a:r>
              <a:rPr lang="en-US" dirty="0">
                <a:hlinkClick r:id="rId3"/>
              </a:rPr>
              <a:t>https://canadacollege.edu/emp/emp-data.php</a:t>
            </a:r>
            <a:endParaRPr lang="en-US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BF518A3A-ECE0-42A2-BD7B-43096BD7B6FA}"/>
              </a:ext>
            </a:extLst>
          </p:cNvPr>
          <p:cNvSpPr/>
          <p:nvPr/>
        </p:nvSpPr>
        <p:spPr>
          <a:xfrm>
            <a:off x="366852" y="228614"/>
            <a:ext cx="11458296" cy="690843"/>
          </a:xfrm>
          <a:prstGeom prst="rect">
            <a:avLst/>
          </a:prstGeom>
          <a:solidFill>
            <a:srgbClr val="006633"/>
          </a:solidFill>
          <a:ln>
            <a:noFill/>
          </a:ln>
          <a:effectLst/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/>
          </a:p>
        </p:txBody>
      </p:sp>
      <p:sp>
        <p:nvSpPr>
          <p:cNvPr id="5" name="Title 1"/>
          <p:cNvSpPr txBox="1">
            <a:spLocks/>
          </p:cNvSpPr>
          <p:nvPr/>
        </p:nvSpPr>
        <p:spPr>
          <a:xfrm>
            <a:off x="733704" y="323024"/>
            <a:ext cx="10515600" cy="528108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sz="3200" b="1" dirty="0">
                <a:solidFill>
                  <a:schemeClr val="bg1"/>
                </a:solidFill>
                <a:effectLst>
                  <a:outerShdw blurRad="50800" dist="50800" dir="5400000" algn="ctr" rotWithShape="0">
                    <a:srgbClr val="000000">
                      <a:alpha val="43137"/>
                    </a:srgbClr>
                  </a:outerShdw>
                </a:effectLst>
                <a:latin typeface="Franklin Gothic Book" panose="020B0503020102020204" pitchFamily="34" charset="0"/>
              </a:rPr>
              <a:t>EMP Task Force Information</a:t>
            </a:r>
          </a:p>
        </p:txBody>
      </p:sp>
      <p:sp>
        <p:nvSpPr>
          <p:cNvPr id="6" name="Rectangle 9">
            <a:extLst>
              <a:ext uri="{FF2B5EF4-FFF2-40B4-BE49-F238E27FC236}">
                <a16:creationId xmlns:a16="http://schemas.microsoft.com/office/drawing/2014/main" id="{29C5912D-DD36-465B-BD92-BB0220505875}"/>
              </a:ext>
            </a:extLst>
          </p:cNvPr>
          <p:cNvSpPr/>
          <p:nvPr/>
        </p:nvSpPr>
        <p:spPr>
          <a:xfrm rot="10800000" flipH="1">
            <a:off x="366852" y="228614"/>
            <a:ext cx="1788160" cy="690775"/>
          </a:xfrm>
          <a:custGeom>
            <a:avLst/>
            <a:gdLst>
              <a:gd name="connsiteX0" fmla="*/ 0 w 1995342"/>
              <a:gd name="connsiteY0" fmla="*/ 0 h 690843"/>
              <a:gd name="connsiteX1" fmla="*/ 1995342 w 1995342"/>
              <a:gd name="connsiteY1" fmla="*/ 0 h 690843"/>
              <a:gd name="connsiteX2" fmla="*/ 1995342 w 1995342"/>
              <a:gd name="connsiteY2" fmla="*/ 690843 h 690843"/>
              <a:gd name="connsiteX3" fmla="*/ 0 w 1995342"/>
              <a:gd name="connsiteY3" fmla="*/ 690843 h 690843"/>
              <a:gd name="connsiteX4" fmla="*/ 0 w 1995342"/>
              <a:gd name="connsiteY4" fmla="*/ 0 h 690843"/>
              <a:gd name="connsiteX0" fmla="*/ 0 w 1995342"/>
              <a:gd name="connsiteY0" fmla="*/ 0 h 690843"/>
              <a:gd name="connsiteX1" fmla="*/ 1375630 w 1995342"/>
              <a:gd name="connsiteY1" fmla="*/ 0 h 690843"/>
              <a:gd name="connsiteX2" fmla="*/ 1995342 w 1995342"/>
              <a:gd name="connsiteY2" fmla="*/ 690843 h 690843"/>
              <a:gd name="connsiteX3" fmla="*/ 0 w 1995342"/>
              <a:gd name="connsiteY3" fmla="*/ 690843 h 690843"/>
              <a:gd name="connsiteX4" fmla="*/ 0 w 1995342"/>
              <a:gd name="connsiteY4" fmla="*/ 0 h 690843"/>
              <a:gd name="connsiteX0" fmla="*/ 0 w 1995342"/>
              <a:gd name="connsiteY0" fmla="*/ 0 h 690843"/>
              <a:gd name="connsiteX1" fmla="*/ 1427711 w 1995342"/>
              <a:gd name="connsiteY1" fmla="*/ 53873 h 690843"/>
              <a:gd name="connsiteX2" fmla="*/ 1995342 w 1995342"/>
              <a:gd name="connsiteY2" fmla="*/ 690843 h 690843"/>
              <a:gd name="connsiteX3" fmla="*/ 0 w 1995342"/>
              <a:gd name="connsiteY3" fmla="*/ 690843 h 690843"/>
              <a:gd name="connsiteX4" fmla="*/ 0 w 1995342"/>
              <a:gd name="connsiteY4" fmla="*/ 0 h 690843"/>
              <a:gd name="connsiteX0" fmla="*/ 26571 w 1995342"/>
              <a:gd name="connsiteY0" fmla="*/ 15898 h 636970"/>
              <a:gd name="connsiteX1" fmla="*/ 1427711 w 1995342"/>
              <a:gd name="connsiteY1" fmla="*/ 0 h 636970"/>
              <a:gd name="connsiteX2" fmla="*/ 1995342 w 1995342"/>
              <a:gd name="connsiteY2" fmla="*/ 636970 h 636970"/>
              <a:gd name="connsiteX3" fmla="*/ 0 w 1995342"/>
              <a:gd name="connsiteY3" fmla="*/ 636970 h 636970"/>
              <a:gd name="connsiteX4" fmla="*/ 26571 w 1995342"/>
              <a:gd name="connsiteY4" fmla="*/ 15898 h 636970"/>
              <a:gd name="connsiteX0" fmla="*/ 0 w 1995342"/>
              <a:gd name="connsiteY0" fmla="*/ 0 h 640502"/>
              <a:gd name="connsiteX1" fmla="*/ 1427711 w 1995342"/>
              <a:gd name="connsiteY1" fmla="*/ 3532 h 640502"/>
              <a:gd name="connsiteX2" fmla="*/ 1995342 w 1995342"/>
              <a:gd name="connsiteY2" fmla="*/ 640502 h 640502"/>
              <a:gd name="connsiteX3" fmla="*/ 0 w 1995342"/>
              <a:gd name="connsiteY3" fmla="*/ 640502 h 640502"/>
              <a:gd name="connsiteX4" fmla="*/ 0 w 1995342"/>
              <a:gd name="connsiteY4" fmla="*/ 0 h 640502"/>
              <a:gd name="connsiteX0" fmla="*/ 0 w 1995342"/>
              <a:gd name="connsiteY0" fmla="*/ 0 h 640502"/>
              <a:gd name="connsiteX1" fmla="*/ 1420271 w 1995342"/>
              <a:gd name="connsiteY1" fmla="*/ 1765 h 640502"/>
              <a:gd name="connsiteX2" fmla="*/ 1995342 w 1995342"/>
              <a:gd name="connsiteY2" fmla="*/ 640502 h 640502"/>
              <a:gd name="connsiteX3" fmla="*/ 0 w 1995342"/>
              <a:gd name="connsiteY3" fmla="*/ 640502 h 640502"/>
              <a:gd name="connsiteX4" fmla="*/ 0 w 1995342"/>
              <a:gd name="connsiteY4" fmla="*/ 0 h 640502"/>
              <a:gd name="connsiteX0" fmla="*/ 0 w 1995342"/>
              <a:gd name="connsiteY0" fmla="*/ 0 h 640502"/>
              <a:gd name="connsiteX1" fmla="*/ 1439402 w 1995342"/>
              <a:gd name="connsiteY1" fmla="*/ 3532 h 640502"/>
              <a:gd name="connsiteX2" fmla="*/ 1995342 w 1995342"/>
              <a:gd name="connsiteY2" fmla="*/ 640502 h 640502"/>
              <a:gd name="connsiteX3" fmla="*/ 0 w 1995342"/>
              <a:gd name="connsiteY3" fmla="*/ 640502 h 640502"/>
              <a:gd name="connsiteX4" fmla="*/ 0 w 1995342"/>
              <a:gd name="connsiteY4" fmla="*/ 0 h 640502"/>
              <a:gd name="connsiteX0" fmla="*/ 0 w 1995342"/>
              <a:gd name="connsiteY0" fmla="*/ 0 h 640502"/>
              <a:gd name="connsiteX1" fmla="*/ 1441528 w 1995342"/>
              <a:gd name="connsiteY1" fmla="*/ 1765 h 640502"/>
              <a:gd name="connsiteX2" fmla="*/ 1995342 w 1995342"/>
              <a:gd name="connsiteY2" fmla="*/ 640502 h 640502"/>
              <a:gd name="connsiteX3" fmla="*/ 0 w 1995342"/>
              <a:gd name="connsiteY3" fmla="*/ 640502 h 640502"/>
              <a:gd name="connsiteX4" fmla="*/ 0 w 1995342"/>
              <a:gd name="connsiteY4" fmla="*/ 0 h 640502"/>
              <a:gd name="connsiteX0" fmla="*/ 0 w 1995342"/>
              <a:gd name="connsiteY0" fmla="*/ 0 h 640502"/>
              <a:gd name="connsiteX1" fmla="*/ 1442591 w 1995342"/>
              <a:gd name="connsiteY1" fmla="*/ 882 h 640502"/>
              <a:gd name="connsiteX2" fmla="*/ 1995342 w 1995342"/>
              <a:gd name="connsiteY2" fmla="*/ 640502 h 640502"/>
              <a:gd name="connsiteX3" fmla="*/ 0 w 1995342"/>
              <a:gd name="connsiteY3" fmla="*/ 640502 h 640502"/>
              <a:gd name="connsiteX4" fmla="*/ 0 w 1995342"/>
              <a:gd name="connsiteY4" fmla="*/ 0 h 6405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95342" h="640502">
                <a:moveTo>
                  <a:pt x="0" y="0"/>
                </a:moveTo>
                <a:lnTo>
                  <a:pt x="1442591" y="882"/>
                </a:lnTo>
                <a:lnTo>
                  <a:pt x="1995342" y="640502"/>
                </a:lnTo>
                <a:lnTo>
                  <a:pt x="0" y="640502"/>
                </a:lnTo>
                <a:lnTo>
                  <a:pt x="0" y="0"/>
                </a:lnTo>
                <a:close/>
              </a:path>
            </a:pathLst>
          </a:custGeom>
          <a:ln>
            <a:noFill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sz="1100" dirty="0"/>
          </a:p>
        </p:txBody>
      </p:sp>
    </p:spTree>
    <p:extLst>
      <p:ext uri="{BB962C8B-B14F-4D97-AF65-F5344CB8AC3E}">
        <p14:creationId xmlns:p14="http://schemas.microsoft.com/office/powerpoint/2010/main" val="22658154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201" y="1825625"/>
            <a:ext cx="10028722" cy="4555924"/>
          </a:xfrm>
        </p:spPr>
        <p:txBody>
          <a:bodyPr/>
          <a:lstStyle/>
          <a:p>
            <a:r>
              <a:rPr lang="en-US" dirty="0"/>
              <a:t>It’s never been easier to lose sight of what matters most to us as educators</a:t>
            </a:r>
          </a:p>
          <a:p>
            <a:r>
              <a:rPr lang="en-US" dirty="0"/>
              <a:t>Possible goals for you to consider: </a:t>
            </a:r>
          </a:p>
          <a:p>
            <a:pPr lvl="1"/>
            <a:r>
              <a:rPr lang="en-US" dirty="0"/>
              <a:t>Write a recommendation letter for one of your students.</a:t>
            </a:r>
          </a:p>
          <a:p>
            <a:pPr lvl="1"/>
            <a:r>
              <a:rPr lang="en-US" dirty="0"/>
              <a:t>Write one more recommendation letter for students than you did last Fall</a:t>
            </a:r>
          </a:p>
          <a:p>
            <a:pPr lvl="1"/>
            <a:r>
              <a:rPr lang="en-US" dirty="0"/>
              <a:t>Convince a student to join one of our Honors Programs</a:t>
            </a:r>
          </a:p>
          <a:p>
            <a:pPr lvl="1"/>
            <a:r>
              <a:rPr lang="en-US" dirty="0"/>
              <a:t>Convince a student to become a tutor</a:t>
            </a:r>
          </a:p>
          <a:p>
            <a:pPr lvl="1"/>
            <a:r>
              <a:rPr lang="en-US" dirty="0"/>
              <a:t>Convince a student to join a college community, such as ASCC or a Club</a:t>
            </a:r>
          </a:p>
          <a:p>
            <a:pPr lvl="1"/>
            <a:r>
              <a:rPr lang="en-US" dirty="0"/>
              <a:t>Nominate a colleague for a statewide award or a college award</a:t>
            </a:r>
          </a:p>
          <a:p>
            <a:pPr lvl="1"/>
            <a:r>
              <a:rPr lang="en-US" dirty="0"/>
              <a:t>Tell your Academic and Classified Senate officers how good of a job they’re doing  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BF518A3A-ECE0-42A2-BD7B-43096BD7B6FA}"/>
              </a:ext>
            </a:extLst>
          </p:cNvPr>
          <p:cNvSpPr/>
          <p:nvPr/>
        </p:nvSpPr>
        <p:spPr>
          <a:xfrm>
            <a:off x="366852" y="228614"/>
            <a:ext cx="11458296" cy="690843"/>
          </a:xfrm>
          <a:prstGeom prst="rect">
            <a:avLst/>
          </a:prstGeom>
          <a:solidFill>
            <a:srgbClr val="006633"/>
          </a:solidFill>
          <a:ln>
            <a:noFill/>
          </a:ln>
          <a:effectLst/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/>
          </a:p>
        </p:txBody>
      </p:sp>
      <p:sp>
        <p:nvSpPr>
          <p:cNvPr id="5" name="Title 1"/>
          <p:cNvSpPr txBox="1">
            <a:spLocks/>
          </p:cNvSpPr>
          <p:nvPr/>
        </p:nvSpPr>
        <p:spPr>
          <a:xfrm>
            <a:off x="733704" y="323024"/>
            <a:ext cx="10515600" cy="528108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sz="3200" b="1" dirty="0">
                <a:solidFill>
                  <a:schemeClr val="bg1"/>
                </a:solidFill>
                <a:effectLst>
                  <a:outerShdw blurRad="50800" dist="50800" dir="5400000" algn="ctr" rotWithShape="0">
                    <a:srgbClr val="000000">
                      <a:alpha val="43137"/>
                    </a:srgbClr>
                  </a:outerShdw>
                </a:effectLst>
                <a:latin typeface="Franklin Gothic Book" panose="020B0503020102020204" pitchFamily="34" charset="0"/>
              </a:rPr>
              <a:t>Connecting with Our Students and Colleagues</a:t>
            </a:r>
          </a:p>
        </p:txBody>
      </p:sp>
      <p:sp>
        <p:nvSpPr>
          <p:cNvPr id="6" name="Rectangle 9">
            <a:extLst>
              <a:ext uri="{FF2B5EF4-FFF2-40B4-BE49-F238E27FC236}">
                <a16:creationId xmlns:a16="http://schemas.microsoft.com/office/drawing/2014/main" id="{29C5912D-DD36-465B-BD92-BB0220505875}"/>
              </a:ext>
            </a:extLst>
          </p:cNvPr>
          <p:cNvSpPr/>
          <p:nvPr/>
        </p:nvSpPr>
        <p:spPr>
          <a:xfrm rot="10800000" flipH="1">
            <a:off x="366852" y="228614"/>
            <a:ext cx="1788160" cy="690775"/>
          </a:xfrm>
          <a:custGeom>
            <a:avLst/>
            <a:gdLst>
              <a:gd name="connsiteX0" fmla="*/ 0 w 1995342"/>
              <a:gd name="connsiteY0" fmla="*/ 0 h 690843"/>
              <a:gd name="connsiteX1" fmla="*/ 1995342 w 1995342"/>
              <a:gd name="connsiteY1" fmla="*/ 0 h 690843"/>
              <a:gd name="connsiteX2" fmla="*/ 1995342 w 1995342"/>
              <a:gd name="connsiteY2" fmla="*/ 690843 h 690843"/>
              <a:gd name="connsiteX3" fmla="*/ 0 w 1995342"/>
              <a:gd name="connsiteY3" fmla="*/ 690843 h 690843"/>
              <a:gd name="connsiteX4" fmla="*/ 0 w 1995342"/>
              <a:gd name="connsiteY4" fmla="*/ 0 h 690843"/>
              <a:gd name="connsiteX0" fmla="*/ 0 w 1995342"/>
              <a:gd name="connsiteY0" fmla="*/ 0 h 690843"/>
              <a:gd name="connsiteX1" fmla="*/ 1375630 w 1995342"/>
              <a:gd name="connsiteY1" fmla="*/ 0 h 690843"/>
              <a:gd name="connsiteX2" fmla="*/ 1995342 w 1995342"/>
              <a:gd name="connsiteY2" fmla="*/ 690843 h 690843"/>
              <a:gd name="connsiteX3" fmla="*/ 0 w 1995342"/>
              <a:gd name="connsiteY3" fmla="*/ 690843 h 690843"/>
              <a:gd name="connsiteX4" fmla="*/ 0 w 1995342"/>
              <a:gd name="connsiteY4" fmla="*/ 0 h 690843"/>
              <a:gd name="connsiteX0" fmla="*/ 0 w 1995342"/>
              <a:gd name="connsiteY0" fmla="*/ 0 h 690843"/>
              <a:gd name="connsiteX1" fmla="*/ 1427711 w 1995342"/>
              <a:gd name="connsiteY1" fmla="*/ 53873 h 690843"/>
              <a:gd name="connsiteX2" fmla="*/ 1995342 w 1995342"/>
              <a:gd name="connsiteY2" fmla="*/ 690843 h 690843"/>
              <a:gd name="connsiteX3" fmla="*/ 0 w 1995342"/>
              <a:gd name="connsiteY3" fmla="*/ 690843 h 690843"/>
              <a:gd name="connsiteX4" fmla="*/ 0 w 1995342"/>
              <a:gd name="connsiteY4" fmla="*/ 0 h 690843"/>
              <a:gd name="connsiteX0" fmla="*/ 26571 w 1995342"/>
              <a:gd name="connsiteY0" fmla="*/ 15898 h 636970"/>
              <a:gd name="connsiteX1" fmla="*/ 1427711 w 1995342"/>
              <a:gd name="connsiteY1" fmla="*/ 0 h 636970"/>
              <a:gd name="connsiteX2" fmla="*/ 1995342 w 1995342"/>
              <a:gd name="connsiteY2" fmla="*/ 636970 h 636970"/>
              <a:gd name="connsiteX3" fmla="*/ 0 w 1995342"/>
              <a:gd name="connsiteY3" fmla="*/ 636970 h 636970"/>
              <a:gd name="connsiteX4" fmla="*/ 26571 w 1995342"/>
              <a:gd name="connsiteY4" fmla="*/ 15898 h 636970"/>
              <a:gd name="connsiteX0" fmla="*/ 0 w 1995342"/>
              <a:gd name="connsiteY0" fmla="*/ 0 h 640502"/>
              <a:gd name="connsiteX1" fmla="*/ 1427711 w 1995342"/>
              <a:gd name="connsiteY1" fmla="*/ 3532 h 640502"/>
              <a:gd name="connsiteX2" fmla="*/ 1995342 w 1995342"/>
              <a:gd name="connsiteY2" fmla="*/ 640502 h 640502"/>
              <a:gd name="connsiteX3" fmla="*/ 0 w 1995342"/>
              <a:gd name="connsiteY3" fmla="*/ 640502 h 640502"/>
              <a:gd name="connsiteX4" fmla="*/ 0 w 1995342"/>
              <a:gd name="connsiteY4" fmla="*/ 0 h 640502"/>
              <a:gd name="connsiteX0" fmla="*/ 0 w 1995342"/>
              <a:gd name="connsiteY0" fmla="*/ 0 h 640502"/>
              <a:gd name="connsiteX1" fmla="*/ 1420271 w 1995342"/>
              <a:gd name="connsiteY1" fmla="*/ 1765 h 640502"/>
              <a:gd name="connsiteX2" fmla="*/ 1995342 w 1995342"/>
              <a:gd name="connsiteY2" fmla="*/ 640502 h 640502"/>
              <a:gd name="connsiteX3" fmla="*/ 0 w 1995342"/>
              <a:gd name="connsiteY3" fmla="*/ 640502 h 640502"/>
              <a:gd name="connsiteX4" fmla="*/ 0 w 1995342"/>
              <a:gd name="connsiteY4" fmla="*/ 0 h 640502"/>
              <a:gd name="connsiteX0" fmla="*/ 0 w 1995342"/>
              <a:gd name="connsiteY0" fmla="*/ 0 h 640502"/>
              <a:gd name="connsiteX1" fmla="*/ 1439402 w 1995342"/>
              <a:gd name="connsiteY1" fmla="*/ 3532 h 640502"/>
              <a:gd name="connsiteX2" fmla="*/ 1995342 w 1995342"/>
              <a:gd name="connsiteY2" fmla="*/ 640502 h 640502"/>
              <a:gd name="connsiteX3" fmla="*/ 0 w 1995342"/>
              <a:gd name="connsiteY3" fmla="*/ 640502 h 640502"/>
              <a:gd name="connsiteX4" fmla="*/ 0 w 1995342"/>
              <a:gd name="connsiteY4" fmla="*/ 0 h 640502"/>
              <a:gd name="connsiteX0" fmla="*/ 0 w 1995342"/>
              <a:gd name="connsiteY0" fmla="*/ 0 h 640502"/>
              <a:gd name="connsiteX1" fmla="*/ 1441528 w 1995342"/>
              <a:gd name="connsiteY1" fmla="*/ 1765 h 640502"/>
              <a:gd name="connsiteX2" fmla="*/ 1995342 w 1995342"/>
              <a:gd name="connsiteY2" fmla="*/ 640502 h 640502"/>
              <a:gd name="connsiteX3" fmla="*/ 0 w 1995342"/>
              <a:gd name="connsiteY3" fmla="*/ 640502 h 640502"/>
              <a:gd name="connsiteX4" fmla="*/ 0 w 1995342"/>
              <a:gd name="connsiteY4" fmla="*/ 0 h 640502"/>
              <a:gd name="connsiteX0" fmla="*/ 0 w 1995342"/>
              <a:gd name="connsiteY0" fmla="*/ 0 h 640502"/>
              <a:gd name="connsiteX1" fmla="*/ 1442591 w 1995342"/>
              <a:gd name="connsiteY1" fmla="*/ 882 h 640502"/>
              <a:gd name="connsiteX2" fmla="*/ 1995342 w 1995342"/>
              <a:gd name="connsiteY2" fmla="*/ 640502 h 640502"/>
              <a:gd name="connsiteX3" fmla="*/ 0 w 1995342"/>
              <a:gd name="connsiteY3" fmla="*/ 640502 h 640502"/>
              <a:gd name="connsiteX4" fmla="*/ 0 w 1995342"/>
              <a:gd name="connsiteY4" fmla="*/ 0 h 6405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95342" h="640502">
                <a:moveTo>
                  <a:pt x="0" y="0"/>
                </a:moveTo>
                <a:lnTo>
                  <a:pt x="1442591" y="882"/>
                </a:lnTo>
                <a:lnTo>
                  <a:pt x="1995342" y="640502"/>
                </a:lnTo>
                <a:lnTo>
                  <a:pt x="0" y="640502"/>
                </a:lnTo>
                <a:lnTo>
                  <a:pt x="0" y="0"/>
                </a:lnTo>
                <a:close/>
              </a:path>
            </a:pathLst>
          </a:custGeom>
          <a:ln>
            <a:noFill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sz="1100" dirty="0"/>
          </a:p>
        </p:txBody>
      </p:sp>
    </p:spTree>
    <p:extLst>
      <p:ext uri="{BB962C8B-B14F-4D97-AF65-F5344CB8AC3E}">
        <p14:creationId xmlns:p14="http://schemas.microsoft.com/office/powerpoint/2010/main" val="39605774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33704" y="2761796"/>
            <a:ext cx="10515600" cy="1919061"/>
          </a:xfrm>
        </p:spPr>
        <p:txBody>
          <a:bodyPr>
            <a:normAutofit lnSpcReduction="10000"/>
          </a:bodyPr>
          <a:lstStyle/>
          <a:p>
            <a:pPr marL="0" indent="0" algn="ctr">
              <a:buNone/>
            </a:pPr>
            <a:r>
              <a:rPr lang="en-US" sz="13800" dirty="0" smtClean="0">
                <a:solidFill>
                  <a:srgbClr val="006633"/>
                </a:solidFill>
              </a:rPr>
              <a:t>Q&amp;A</a:t>
            </a:r>
            <a:endParaRPr lang="en-US" sz="13800" dirty="0">
              <a:solidFill>
                <a:srgbClr val="006633"/>
              </a:solidFill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BF518A3A-ECE0-42A2-BD7B-43096BD7B6FA}"/>
              </a:ext>
            </a:extLst>
          </p:cNvPr>
          <p:cNvSpPr/>
          <p:nvPr/>
        </p:nvSpPr>
        <p:spPr>
          <a:xfrm>
            <a:off x="366852" y="228614"/>
            <a:ext cx="11458296" cy="690843"/>
          </a:xfrm>
          <a:prstGeom prst="rect">
            <a:avLst/>
          </a:prstGeom>
          <a:solidFill>
            <a:srgbClr val="006633"/>
          </a:solidFill>
          <a:ln>
            <a:noFill/>
          </a:ln>
          <a:effectLst/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/>
          </a:p>
        </p:txBody>
      </p:sp>
      <p:sp>
        <p:nvSpPr>
          <p:cNvPr id="5" name="Title 1"/>
          <p:cNvSpPr txBox="1">
            <a:spLocks/>
          </p:cNvSpPr>
          <p:nvPr/>
        </p:nvSpPr>
        <p:spPr>
          <a:xfrm>
            <a:off x="733704" y="323024"/>
            <a:ext cx="10515600" cy="528108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0000"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sz="3600" b="1" dirty="0" smtClean="0">
                <a:solidFill>
                  <a:schemeClr val="bg1"/>
                </a:solidFill>
                <a:effectLst>
                  <a:outerShdw blurRad="50800" dist="50800" dir="5400000" algn="ctr" rotWithShape="0">
                    <a:srgbClr val="000000">
                      <a:alpha val="43137"/>
                    </a:srgbClr>
                  </a:outerShdw>
                </a:effectLst>
                <a:latin typeface="Franklin Gothic Book" panose="020B0503020102020204" pitchFamily="34" charset="0"/>
              </a:rPr>
              <a:t>Campus-wide Discussion</a:t>
            </a:r>
            <a:endParaRPr lang="en-US" sz="3600" b="1" dirty="0">
              <a:solidFill>
                <a:schemeClr val="bg1"/>
              </a:solidFill>
              <a:effectLst>
                <a:outerShdw blurRad="50800" dist="50800" dir="5400000" algn="ctr" rotWithShape="0">
                  <a:srgbClr val="000000">
                    <a:alpha val="43137"/>
                  </a:srgbClr>
                </a:outerShdw>
              </a:effectLst>
              <a:latin typeface="Franklin Gothic Book" panose="020B0503020102020204" pitchFamily="34" charset="0"/>
            </a:endParaRPr>
          </a:p>
        </p:txBody>
      </p:sp>
      <p:sp>
        <p:nvSpPr>
          <p:cNvPr id="6" name="Rectangle 9">
            <a:extLst>
              <a:ext uri="{FF2B5EF4-FFF2-40B4-BE49-F238E27FC236}">
                <a16:creationId xmlns:a16="http://schemas.microsoft.com/office/drawing/2014/main" id="{29C5912D-DD36-465B-BD92-BB0220505875}"/>
              </a:ext>
            </a:extLst>
          </p:cNvPr>
          <p:cNvSpPr/>
          <p:nvPr/>
        </p:nvSpPr>
        <p:spPr>
          <a:xfrm rot="10800000" flipH="1">
            <a:off x="366852" y="228614"/>
            <a:ext cx="1788160" cy="690775"/>
          </a:xfrm>
          <a:custGeom>
            <a:avLst/>
            <a:gdLst>
              <a:gd name="connsiteX0" fmla="*/ 0 w 1995342"/>
              <a:gd name="connsiteY0" fmla="*/ 0 h 690843"/>
              <a:gd name="connsiteX1" fmla="*/ 1995342 w 1995342"/>
              <a:gd name="connsiteY1" fmla="*/ 0 h 690843"/>
              <a:gd name="connsiteX2" fmla="*/ 1995342 w 1995342"/>
              <a:gd name="connsiteY2" fmla="*/ 690843 h 690843"/>
              <a:gd name="connsiteX3" fmla="*/ 0 w 1995342"/>
              <a:gd name="connsiteY3" fmla="*/ 690843 h 690843"/>
              <a:gd name="connsiteX4" fmla="*/ 0 w 1995342"/>
              <a:gd name="connsiteY4" fmla="*/ 0 h 690843"/>
              <a:gd name="connsiteX0" fmla="*/ 0 w 1995342"/>
              <a:gd name="connsiteY0" fmla="*/ 0 h 690843"/>
              <a:gd name="connsiteX1" fmla="*/ 1375630 w 1995342"/>
              <a:gd name="connsiteY1" fmla="*/ 0 h 690843"/>
              <a:gd name="connsiteX2" fmla="*/ 1995342 w 1995342"/>
              <a:gd name="connsiteY2" fmla="*/ 690843 h 690843"/>
              <a:gd name="connsiteX3" fmla="*/ 0 w 1995342"/>
              <a:gd name="connsiteY3" fmla="*/ 690843 h 690843"/>
              <a:gd name="connsiteX4" fmla="*/ 0 w 1995342"/>
              <a:gd name="connsiteY4" fmla="*/ 0 h 690843"/>
              <a:gd name="connsiteX0" fmla="*/ 0 w 1995342"/>
              <a:gd name="connsiteY0" fmla="*/ 0 h 690843"/>
              <a:gd name="connsiteX1" fmla="*/ 1427711 w 1995342"/>
              <a:gd name="connsiteY1" fmla="*/ 53873 h 690843"/>
              <a:gd name="connsiteX2" fmla="*/ 1995342 w 1995342"/>
              <a:gd name="connsiteY2" fmla="*/ 690843 h 690843"/>
              <a:gd name="connsiteX3" fmla="*/ 0 w 1995342"/>
              <a:gd name="connsiteY3" fmla="*/ 690843 h 690843"/>
              <a:gd name="connsiteX4" fmla="*/ 0 w 1995342"/>
              <a:gd name="connsiteY4" fmla="*/ 0 h 690843"/>
              <a:gd name="connsiteX0" fmla="*/ 26571 w 1995342"/>
              <a:gd name="connsiteY0" fmla="*/ 15898 h 636970"/>
              <a:gd name="connsiteX1" fmla="*/ 1427711 w 1995342"/>
              <a:gd name="connsiteY1" fmla="*/ 0 h 636970"/>
              <a:gd name="connsiteX2" fmla="*/ 1995342 w 1995342"/>
              <a:gd name="connsiteY2" fmla="*/ 636970 h 636970"/>
              <a:gd name="connsiteX3" fmla="*/ 0 w 1995342"/>
              <a:gd name="connsiteY3" fmla="*/ 636970 h 636970"/>
              <a:gd name="connsiteX4" fmla="*/ 26571 w 1995342"/>
              <a:gd name="connsiteY4" fmla="*/ 15898 h 636970"/>
              <a:gd name="connsiteX0" fmla="*/ 0 w 1995342"/>
              <a:gd name="connsiteY0" fmla="*/ 0 h 640502"/>
              <a:gd name="connsiteX1" fmla="*/ 1427711 w 1995342"/>
              <a:gd name="connsiteY1" fmla="*/ 3532 h 640502"/>
              <a:gd name="connsiteX2" fmla="*/ 1995342 w 1995342"/>
              <a:gd name="connsiteY2" fmla="*/ 640502 h 640502"/>
              <a:gd name="connsiteX3" fmla="*/ 0 w 1995342"/>
              <a:gd name="connsiteY3" fmla="*/ 640502 h 640502"/>
              <a:gd name="connsiteX4" fmla="*/ 0 w 1995342"/>
              <a:gd name="connsiteY4" fmla="*/ 0 h 640502"/>
              <a:gd name="connsiteX0" fmla="*/ 0 w 1995342"/>
              <a:gd name="connsiteY0" fmla="*/ 0 h 640502"/>
              <a:gd name="connsiteX1" fmla="*/ 1420271 w 1995342"/>
              <a:gd name="connsiteY1" fmla="*/ 1765 h 640502"/>
              <a:gd name="connsiteX2" fmla="*/ 1995342 w 1995342"/>
              <a:gd name="connsiteY2" fmla="*/ 640502 h 640502"/>
              <a:gd name="connsiteX3" fmla="*/ 0 w 1995342"/>
              <a:gd name="connsiteY3" fmla="*/ 640502 h 640502"/>
              <a:gd name="connsiteX4" fmla="*/ 0 w 1995342"/>
              <a:gd name="connsiteY4" fmla="*/ 0 h 640502"/>
              <a:gd name="connsiteX0" fmla="*/ 0 w 1995342"/>
              <a:gd name="connsiteY0" fmla="*/ 0 h 640502"/>
              <a:gd name="connsiteX1" fmla="*/ 1439402 w 1995342"/>
              <a:gd name="connsiteY1" fmla="*/ 3532 h 640502"/>
              <a:gd name="connsiteX2" fmla="*/ 1995342 w 1995342"/>
              <a:gd name="connsiteY2" fmla="*/ 640502 h 640502"/>
              <a:gd name="connsiteX3" fmla="*/ 0 w 1995342"/>
              <a:gd name="connsiteY3" fmla="*/ 640502 h 640502"/>
              <a:gd name="connsiteX4" fmla="*/ 0 w 1995342"/>
              <a:gd name="connsiteY4" fmla="*/ 0 h 640502"/>
              <a:gd name="connsiteX0" fmla="*/ 0 w 1995342"/>
              <a:gd name="connsiteY0" fmla="*/ 0 h 640502"/>
              <a:gd name="connsiteX1" fmla="*/ 1441528 w 1995342"/>
              <a:gd name="connsiteY1" fmla="*/ 1765 h 640502"/>
              <a:gd name="connsiteX2" fmla="*/ 1995342 w 1995342"/>
              <a:gd name="connsiteY2" fmla="*/ 640502 h 640502"/>
              <a:gd name="connsiteX3" fmla="*/ 0 w 1995342"/>
              <a:gd name="connsiteY3" fmla="*/ 640502 h 640502"/>
              <a:gd name="connsiteX4" fmla="*/ 0 w 1995342"/>
              <a:gd name="connsiteY4" fmla="*/ 0 h 640502"/>
              <a:gd name="connsiteX0" fmla="*/ 0 w 1995342"/>
              <a:gd name="connsiteY0" fmla="*/ 0 h 640502"/>
              <a:gd name="connsiteX1" fmla="*/ 1442591 w 1995342"/>
              <a:gd name="connsiteY1" fmla="*/ 882 h 640502"/>
              <a:gd name="connsiteX2" fmla="*/ 1995342 w 1995342"/>
              <a:gd name="connsiteY2" fmla="*/ 640502 h 640502"/>
              <a:gd name="connsiteX3" fmla="*/ 0 w 1995342"/>
              <a:gd name="connsiteY3" fmla="*/ 640502 h 640502"/>
              <a:gd name="connsiteX4" fmla="*/ 0 w 1995342"/>
              <a:gd name="connsiteY4" fmla="*/ 0 h 6405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95342" h="640502">
                <a:moveTo>
                  <a:pt x="0" y="0"/>
                </a:moveTo>
                <a:lnTo>
                  <a:pt x="1442591" y="882"/>
                </a:lnTo>
                <a:lnTo>
                  <a:pt x="1995342" y="640502"/>
                </a:lnTo>
                <a:lnTo>
                  <a:pt x="0" y="640502"/>
                </a:lnTo>
                <a:lnTo>
                  <a:pt x="0" y="0"/>
                </a:lnTo>
                <a:close/>
              </a:path>
            </a:pathLst>
          </a:custGeom>
          <a:ln>
            <a:noFill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sz="1100" dirty="0"/>
          </a:p>
        </p:txBody>
      </p:sp>
    </p:spTree>
    <p:extLst>
      <p:ext uri="{BB962C8B-B14F-4D97-AF65-F5344CB8AC3E}">
        <p14:creationId xmlns:p14="http://schemas.microsoft.com/office/powerpoint/2010/main" val="35510316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690842" y="5019620"/>
            <a:ext cx="11252199" cy="9536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5500" b="1" dirty="0">
                <a:latin typeface="Garamond" panose="02020404030301010803" pitchFamily="18" charset="0"/>
              </a:rPr>
              <a:t>Flex Day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07845" y="751552"/>
            <a:ext cx="8018193" cy="3601369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7CFA1314-8F33-4955-BE2C-917B786340CE}"/>
              </a:ext>
            </a:extLst>
          </p:cNvPr>
          <p:cNvSpPr/>
          <p:nvPr/>
        </p:nvSpPr>
        <p:spPr>
          <a:xfrm rot="5400000">
            <a:off x="-3086129" y="3081031"/>
            <a:ext cx="6863099" cy="690843"/>
          </a:xfrm>
          <a:prstGeom prst="rect">
            <a:avLst/>
          </a:prstGeom>
          <a:solidFill>
            <a:srgbClr val="006633"/>
          </a:solidFill>
          <a:ln>
            <a:noFill/>
          </a:ln>
          <a:effectLst/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/>
          </a:p>
        </p:txBody>
      </p:sp>
      <p:sp>
        <p:nvSpPr>
          <p:cNvPr id="6" name="Rectangle 9">
            <a:extLst>
              <a:ext uri="{FF2B5EF4-FFF2-40B4-BE49-F238E27FC236}">
                <a16:creationId xmlns:a16="http://schemas.microsoft.com/office/drawing/2014/main" id="{48C3CA36-8AC6-47B4-9365-B3EC4FBFB9A1}"/>
              </a:ext>
            </a:extLst>
          </p:cNvPr>
          <p:cNvSpPr/>
          <p:nvPr/>
        </p:nvSpPr>
        <p:spPr>
          <a:xfrm rot="16200000" flipH="1">
            <a:off x="-548626" y="539379"/>
            <a:ext cx="1788160" cy="690775"/>
          </a:xfrm>
          <a:custGeom>
            <a:avLst/>
            <a:gdLst>
              <a:gd name="connsiteX0" fmla="*/ 0 w 1995342"/>
              <a:gd name="connsiteY0" fmla="*/ 0 h 690843"/>
              <a:gd name="connsiteX1" fmla="*/ 1995342 w 1995342"/>
              <a:gd name="connsiteY1" fmla="*/ 0 h 690843"/>
              <a:gd name="connsiteX2" fmla="*/ 1995342 w 1995342"/>
              <a:gd name="connsiteY2" fmla="*/ 690843 h 690843"/>
              <a:gd name="connsiteX3" fmla="*/ 0 w 1995342"/>
              <a:gd name="connsiteY3" fmla="*/ 690843 h 690843"/>
              <a:gd name="connsiteX4" fmla="*/ 0 w 1995342"/>
              <a:gd name="connsiteY4" fmla="*/ 0 h 690843"/>
              <a:gd name="connsiteX0" fmla="*/ 0 w 1995342"/>
              <a:gd name="connsiteY0" fmla="*/ 0 h 690843"/>
              <a:gd name="connsiteX1" fmla="*/ 1375630 w 1995342"/>
              <a:gd name="connsiteY1" fmla="*/ 0 h 690843"/>
              <a:gd name="connsiteX2" fmla="*/ 1995342 w 1995342"/>
              <a:gd name="connsiteY2" fmla="*/ 690843 h 690843"/>
              <a:gd name="connsiteX3" fmla="*/ 0 w 1995342"/>
              <a:gd name="connsiteY3" fmla="*/ 690843 h 690843"/>
              <a:gd name="connsiteX4" fmla="*/ 0 w 1995342"/>
              <a:gd name="connsiteY4" fmla="*/ 0 h 690843"/>
              <a:gd name="connsiteX0" fmla="*/ 0 w 1995342"/>
              <a:gd name="connsiteY0" fmla="*/ 0 h 690843"/>
              <a:gd name="connsiteX1" fmla="*/ 1427711 w 1995342"/>
              <a:gd name="connsiteY1" fmla="*/ 53873 h 690843"/>
              <a:gd name="connsiteX2" fmla="*/ 1995342 w 1995342"/>
              <a:gd name="connsiteY2" fmla="*/ 690843 h 690843"/>
              <a:gd name="connsiteX3" fmla="*/ 0 w 1995342"/>
              <a:gd name="connsiteY3" fmla="*/ 690843 h 690843"/>
              <a:gd name="connsiteX4" fmla="*/ 0 w 1995342"/>
              <a:gd name="connsiteY4" fmla="*/ 0 h 690843"/>
              <a:gd name="connsiteX0" fmla="*/ 26571 w 1995342"/>
              <a:gd name="connsiteY0" fmla="*/ 15898 h 636970"/>
              <a:gd name="connsiteX1" fmla="*/ 1427711 w 1995342"/>
              <a:gd name="connsiteY1" fmla="*/ 0 h 636970"/>
              <a:gd name="connsiteX2" fmla="*/ 1995342 w 1995342"/>
              <a:gd name="connsiteY2" fmla="*/ 636970 h 636970"/>
              <a:gd name="connsiteX3" fmla="*/ 0 w 1995342"/>
              <a:gd name="connsiteY3" fmla="*/ 636970 h 636970"/>
              <a:gd name="connsiteX4" fmla="*/ 26571 w 1995342"/>
              <a:gd name="connsiteY4" fmla="*/ 15898 h 636970"/>
              <a:gd name="connsiteX0" fmla="*/ 0 w 1995342"/>
              <a:gd name="connsiteY0" fmla="*/ 0 h 640502"/>
              <a:gd name="connsiteX1" fmla="*/ 1427711 w 1995342"/>
              <a:gd name="connsiteY1" fmla="*/ 3532 h 640502"/>
              <a:gd name="connsiteX2" fmla="*/ 1995342 w 1995342"/>
              <a:gd name="connsiteY2" fmla="*/ 640502 h 640502"/>
              <a:gd name="connsiteX3" fmla="*/ 0 w 1995342"/>
              <a:gd name="connsiteY3" fmla="*/ 640502 h 640502"/>
              <a:gd name="connsiteX4" fmla="*/ 0 w 1995342"/>
              <a:gd name="connsiteY4" fmla="*/ 0 h 640502"/>
              <a:gd name="connsiteX0" fmla="*/ 0 w 1995342"/>
              <a:gd name="connsiteY0" fmla="*/ 0 h 640502"/>
              <a:gd name="connsiteX1" fmla="*/ 1420271 w 1995342"/>
              <a:gd name="connsiteY1" fmla="*/ 1765 h 640502"/>
              <a:gd name="connsiteX2" fmla="*/ 1995342 w 1995342"/>
              <a:gd name="connsiteY2" fmla="*/ 640502 h 640502"/>
              <a:gd name="connsiteX3" fmla="*/ 0 w 1995342"/>
              <a:gd name="connsiteY3" fmla="*/ 640502 h 640502"/>
              <a:gd name="connsiteX4" fmla="*/ 0 w 1995342"/>
              <a:gd name="connsiteY4" fmla="*/ 0 h 640502"/>
              <a:gd name="connsiteX0" fmla="*/ 0 w 1995342"/>
              <a:gd name="connsiteY0" fmla="*/ 0 h 640502"/>
              <a:gd name="connsiteX1" fmla="*/ 1439402 w 1995342"/>
              <a:gd name="connsiteY1" fmla="*/ 3532 h 640502"/>
              <a:gd name="connsiteX2" fmla="*/ 1995342 w 1995342"/>
              <a:gd name="connsiteY2" fmla="*/ 640502 h 640502"/>
              <a:gd name="connsiteX3" fmla="*/ 0 w 1995342"/>
              <a:gd name="connsiteY3" fmla="*/ 640502 h 640502"/>
              <a:gd name="connsiteX4" fmla="*/ 0 w 1995342"/>
              <a:gd name="connsiteY4" fmla="*/ 0 h 640502"/>
              <a:gd name="connsiteX0" fmla="*/ 0 w 1995342"/>
              <a:gd name="connsiteY0" fmla="*/ 0 h 640502"/>
              <a:gd name="connsiteX1" fmla="*/ 1441528 w 1995342"/>
              <a:gd name="connsiteY1" fmla="*/ 1765 h 640502"/>
              <a:gd name="connsiteX2" fmla="*/ 1995342 w 1995342"/>
              <a:gd name="connsiteY2" fmla="*/ 640502 h 640502"/>
              <a:gd name="connsiteX3" fmla="*/ 0 w 1995342"/>
              <a:gd name="connsiteY3" fmla="*/ 640502 h 640502"/>
              <a:gd name="connsiteX4" fmla="*/ 0 w 1995342"/>
              <a:gd name="connsiteY4" fmla="*/ 0 h 640502"/>
              <a:gd name="connsiteX0" fmla="*/ 0 w 1995342"/>
              <a:gd name="connsiteY0" fmla="*/ 0 h 640502"/>
              <a:gd name="connsiteX1" fmla="*/ 1442591 w 1995342"/>
              <a:gd name="connsiteY1" fmla="*/ 882 h 640502"/>
              <a:gd name="connsiteX2" fmla="*/ 1995342 w 1995342"/>
              <a:gd name="connsiteY2" fmla="*/ 640502 h 640502"/>
              <a:gd name="connsiteX3" fmla="*/ 0 w 1995342"/>
              <a:gd name="connsiteY3" fmla="*/ 640502 h 640502"/>
              <a:gd name="connsiteX4" fmla="*/ 0 w 1995342"/>
              <a:gd name="connsiteY4" fmla="*/ 0 h 6405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95342" h="640502">
                <a:moveTo>
                  <a:pt x="0" y="0"/>
                </a:moveTo>
                <a:lnTo>
                  <a:pt x="1442591" y="882"/>
                </a:lnTo>
                <a:lnTo>
                  <a:pt x="1995342" y="640502"/>
                </a:lnTo>
                <a:lnTo>
                  <a:pt x="0" y="640502"/>
                </a:lnTo>
                <a:lnTo>
                  <a:pt x="0" y="0"/>
                </a:lnTo>
                <a:close/>
              </a:path>
            </a:pathLst>
          </a:custGeom>
          <a:ln>
            <a:noFill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sz="1100" dirty="0"/>
          </a:p>
        </p:txBody>
      </p:sp>
    </p:spTree>
    <p:extLst>
      <p:ext uri="{BB962C8B-B14F-4D97-AF65-F5344CB8AC3E}">
        <p14:creationId xmlns:p14="http://schemas.microsoft.com/office/powerpoint/2010/main" val="381604386"/>
      </p:ext>
    </p:extLst>
  </p:cSld>
  <p:clrMapOvr>
    <a:masterClrMapping/>
  </p:clrMapOvr>
  <p:transition spd="slow">
    <p:cover/>
  </p:transition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BF518A3A-ECE0-42A2-BD7B-43096BD7B6FA}"/>
              </a:ext>
            </a:extLst>
          </p:cNvPr>
          <p:cNvSpPr/>
          <p:nvPr/>
        </p:nvSpPr>
        <p:spPr>
          <a:xfrm>
            <a:off x="366852" y="228614"/>
            <a:ext cx="11458296" cy="690843"/>
          </a:xfrm>
          <a:prstGeom prst="rect">
            <a:avLst/>
          </a:prstGeom>
          <a:solidFill>
            <a:srgbClr val="006633"/>
          </a:solidFill>
          <a:ln>
            <a:noFill/>
          </a:ln>
          <a:effectLst/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/>
          </a:p>
        </p:txBody>
      </p:sp>
      <p:sp>
        <p:nvSpPr>
          <p:cNvPr id="7" name="Title 1"/>
          <p:cNvSpPr txBox="1">
            <a:spLocks/>
          </p:cNvSpPr>
          <p:nvPr/>
        </p:nvSpPr>
        <p:spPr>
          <a:xfrm>
            <a:off x="733704" y="323024"/>
            <a:ext cx="10515600" cy="528108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0000"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sz="3600" b="1" dirty="0" err="1">
                <a:solidFill>
                  <a:schemeClr val="bg1"/>
                </a:solidFill>
                <a:effectLst>
                  <a:outerShdw blurRad="50800" dist="50800" dir="5400000" algn="ctr" rotWithShape="0">
                    <a:srgbClr val="000000">
                      <a:alpha val="43137"/>
                    </a:srgbClr>
                  </a:outerShdw>
                </a:effectLst>
                <a:latin typeface="Franklin Gothic Book" panose="020B0503020102020204" pitchFamily="34" charset="0"/>
              </a:rPr>
              <a:t>Cañada</a:t>
            </a:r>
            <a:r>
              <a:rPr lang="en-US" sz="3600" b="1" dirty="0">
                <a:solidFill>
                  <a:schemeClr val="bg1"/>
                </a:solidFill>
                <a:effectLst>
                  <a:outerShdw blurRad="50800" dist="50800" dir="5400000" algn="ctr" rotWithShape="0">
                    <a:srgbClr val="000000">
                      <a:alpha val="43137"/>
                    </a:srgbClr>
                  </a:outerShdw>
                </a:effectLst>
                <a:latin typeface="Franklin Gothic Book" panose="020B0503020102020204" pitchFamily="34" charset="0"/>
              </a:rPr>
              <a:t> College – 20 Years Service Awards</a:t>
            </a:r>
          </a:p>
        </p:txBody>
      </p:sp>
      <p:sp>
        <p:nvSpPr>
          <p:cNvPr id="8" name="Rectangle 9">
            <a:extLst>
              <a:ext uri="{FF2B5EF4-FFF2-40B4-BE49-F238E27FC236}">
                <a16:creationId xmlns:a16="http://schemas.microsoft.com/office/drawing/2014/main" id="{29C5912D-DD36-465B-BD92-BB0220505875}"/>
              </a:ext>
            </a:extLst>
          </p:cNvPr>
          <p:cNvSpPr/>
          <p:nvPr/>
        </p:nvSpPr>
        <p:spPr>
          <a:xfrm rot="10800000" flipH="1">
            <a:off x="366852" y="228614"/>
            <a:ext cx="1788160" cy="690775"/>
          </a:xfrm>
          <a:custGeom>
            <a:avLst/>
            <a:gdLst>
              <a:gd name="connsiteX0" fmla="*/ 0 w 1995342"/>
              <a:gd name="connsiteY0" fmla="*/ 0 h 690843"/>
              <a:gd name="connsiteX1" fmla="*/ 1995342 w 1995342"/>
              <a:gd name="connsiteY1" fmla="*/ 0 h 690843"/>
              <a:gd name="connsiteX2" fmla="*/ 1995342 w 1995342"/>
              <a:gd name="connsiteY2" fmla="*/ 690843 h 690843"/>
              <a:gd name="connsiteX3" fmla="*/ 0 w 1995342"/>
              <a:gd name="connsiteY3" fmla="*/ 690843 h 690843"/>
              <a:gd name="connsiteX4" fmla="*/ 0 w 1995342"/>
              <a:gd name="connsiteY4" fmla="*/ 0 h 690843"/>
              <a:gd name="connsiteX0" fmla="*/ 0 w 1995342"/>
              <a:gd name="connsiteY0" fmla="*/ 0 h 690843"/>
              <a:gd name="connsiteX1" fmla="*/ 1375630 w 1995342"/>
              <a:gd name="connsiteY1" fmla="*/ 0 h 690843"/>
              <a:gd name="connsiteX2" fmla="*/ 1995342 w 1995342"/>
              <a:gd name="connsiteY2" fmla="*/ 690843 h 690843"/>
              <a:gd name="connsiteX3" fmla="*/ 0 w 1995342"/>
              <a:gd name="connsiteY3" fmla="*/ 690843 h 690843"/>
              <a:gd name="connsiteX4" fmla="*/ 0 w 1995342"/>
              <a:gd name="connsiteY4" fmla="*/ 0 h 690843"/>
              <a:gd name="connsiteX0" fmla="*/ 0 w 1995342"/>
              <a:gd name="connsiteY0" fmla="*/ 0 h 690843"/>
              <a:gd name="connsiteX1" fmla="*/ 1427711 w 1995342"/>
              <a:gd name="connsiteY1" fmla="*/ 53873 h 690843"/>
              <a:gd name="connsiteX2" fmla="*/ 1995342 w 1995342"/>
              <a:gd name="connsiteY2" fmla="*/ 690843 h 690843"/>
              <a:gd name="connsiteX3" fmla="*/ 0 w 1995342"/>
              <a:gd name="connsiteY3" fmla="*/ 690843 h 690843"/>
              <a:gd name="connsiteX4" fmla="*/ 0 w 1995342"/>
              <a:gd name="connsiteY4" fmla="*/ 0 h 690843"/>
              <a:gd name="connsiteX0" fmla="*/ 26571 w 1995342"/>
              <a:gd name="connsiteY0" fmla="*/ 15898 h 636970"/>
              <a:gd name="connsiteX1" fmla="*/ 1427711 w 1995342"/>
              <a:gd name="connsiteY1" fmla="*/ 0 h 636970"/>
              <a:gd name="connsiteX2" fmla="*/ 1995342 w 1995342"/>
              <a:gd name="connsiteY2" fmla="*/ 636970 h 636970"/>
              <a:gd name="connsiteX3" fmla="*/ 0 w 1995342"/>
              <a:gd name="connsiteY3" fmla="*/ 636970 h 636970"/>
              <a:gd name="connsiteX4" fmla="*/ 26571 w 1995342"/>
              <a:gd name="connsiteY4" fmla="*/ 15898 h 636970"/>
              <a:gd name="connsiteX0" fmla="*/ 0 w 1995342"/>
              <a:gd name="connsiteY0" fmla="*/ 0 h 640502"/>
              <a:gd name="connsiteX1" fmla="*/ 1427711 w 1995342"/>
              <a:gd name="connsiteY1" fmla="*/ 3532 h 640502"/>
              <a:gd name="connsiteX2" fmla="*/ 1995342 w 1995342"/>
              <a:gd name="connsiteY2" fmla="*/ 640502 h 640502"/>
              <a:gd name="connsiteX3" fmla="*/ 0 w 1995342"/>
              <a:gd name="connsiteY3" fmla="*/ 640502 h 640502"/>
              <a:gd name="connsiteX4" fmla="*/ 0 w 1995342"/>
              <a:gd name="connsiteY4" fmla="*/ 0 h 640502"/>
              <a:gd name="connsiteX0" fmla="*/ 0 w 1995342"/>
              <a:gd name="connsiteY0" fmla="*/ 0 h 640502"/>
              <a:gd name="connsiteX1" fmla="*/ 1420271 w 1995342"/>
              <a:gd name="connsiteY1" fmla="*/ 1765 h 640502"/>
              <a:gd name="connsiteX2" fmla="*/ 1995342 w 1995342"/>
              <a:gd name="connsiteY2" fmla="*/ 640502 h 640502"/>
              <a:gd name="connsiteX3" fmla="*/ 0 w 1995342"/>
              <a:gd name="connsiteY3" fmla="*/ 640502 h 640502"/>
              <a:gd name="connsiteX4" fmla="*/ 0 w 1995342"/>
              <a:gd name="connsiteY4" fmla="*/ 0 h 640502"/>
              <a:gd name="connsiteX0" fmla="*/ 0 w 1995342"/>
              <a:gd name="connsiteY0" fmla="*/ 0 h 640502"/>
              <a:gd name="connsiteX1" fmla="*/ 1439402 w 1995342"/>
              <a:gd name="connsiteY1" fmla="*/ 3532 h 640502"/>
              <a:gd name="connsiteX2" fmla="*/ 1995342 w 1995342"/>
              <a:gd name="connsiteY2" fmla="*/ 640502 h 640502"/>
              <a:gd name="connsiteX3" fmla="*/ 0 w 1995342"/>
              <a:gd name="connsiteY3" fmla="*/ 640502 h 640502"/>
              <a:gd name="connsiteX4" fmla="*/ 0 w 1995342"/>
              <a:gd name="connsiteY4" fmla="*/ 0 h 640502"/>
              <a:gd name="connsiteX0" fmla="*/ 0 w 1995342"/>
              <a:gd name="connsiteY0" fmla="*/ 0 h 640502"/>
              <a:gd name="connsiteX1" fmla="*/ 1441528 w 1995342"/>
              <a:gd name="connsiteY1" fmla="*/ 1765 h 640502"/>
              <a:gd name="connsiteX2" fmla="*/ 1995342 w 1995342"/>
              <a:gd name="connsiteY2" fmla="*/ 640502 h 640502"/>
              <a:gd name="connsiteX3" fmla="*/ 0 w 1995342"/>
              <a:gd name="connsiteY3" fmla="*/ 640502 h 640502"/>
              <a:gd name="connsiteX4" fmla="*/ 0 w 1995342"/>
              <a:gd name="connsiteY4" fmla="*/ 0 h 640502"/>
              <a:gd name="connsiteX0" fmla="*/ 0 w 1995342"/>
              <a:gd name="connsiteY0" fmla="*/ 0 h 640502"/>
              <a:gd name="connsiteX1" fmla="*/ 1442591 w 1995342"/>
              <a:gd name="connsiteY1" fmla="*/ 882 h 640502"/>
              <a:gd name="connsiteX2" fmla="*/ 1995342 w 1995342"/>
              <a:gd name="connsiteY2" fmla="*/ 640502 h 640502"/>
              <a:gd name="connsiteX3" fmla="*/ 0 w 1995342"/>
              <a:gd name="connsiteY3" fmla="*/ 640502 h 640502"/>
              <a:gd name="connsiteX4" fmla="*/ 0 w 1995342"/>
              <a:gd name="connsiteY4" fmla="*/ 0 h 6405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95342" h="640502">
                <a:moveTo>
                  <a:pt x="0" y="0"/>
                </a:moveTo>
                <a:lnTo>
                  <a:pt x="1442591" y="882"/>
                </a:lnTo>
                <a:lnTo>
                  <a:pt x="1995342" y="640502"/>
                </a:lnTo>
                <a:lnTo>
                  <a:pt x="0" y="640502"/>
                </a:lnTo>
                <a:lnTo>
                  <a:pt x="0" y="0"/>
                </a:lnTo>
                <a:close/>
              </a:path>
            </a:pathLst>
          </a:custGeom>
          <a:ln>
            <a:noFill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sz="1100" dirty="0"/>
          </a:p>
        </p:txBody>
      </p:sp>
      <p:pic>
        <p:nvPicPr>
          <p:cNvPr id="15" name="Content Placeholder 6">
            <a:extLst>
              <a:ext uri="{FF2B5EF4-FFF2-40B4-BE49-F238E27FC236}">
                <a16:creationId xmlns:a16="http://schemas.microsoft.com/office/drawing/2014/main" id="{4E309508-96F4-4FD8-975B-7940E5B41E65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807" t="16132" r="807" b="8868"/>
          <a:stretch/>
        </p:blipFill>
        <p:spPr>
          <a:xfrm>
            <a:off x="396302" y="1697635"/>
            <a:ext cx="1490472" cy="1490472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sp>
        <p:nvSpPr>
          <p:cNvPr id="9" name="Content Placeholder 2"/>
          <p:cNvSpPr txBox="1">
            <a:spLocks/>
          </p:cNvSpPr>
          <p:nvPr/>
        </p:nvSpPr>
        <p:spPr>
          <a:xfrm>
            <a:off x="2135582" y="2056279"/>
            <a:ext cx="2178532" cy="113485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ts val="1400"/>
              </a:lnSpc>
              <a:buNone/>
            </a:pPr>
            <a:r>
              <a:rPr lang="en-AU" sz="1800" dirty="0">
                <a:solidFill>
                  <a:schemeClr val="accent6">
                    <a:lumMod val="50000"/>
                  </a:schemeClr>
                </a:solidFill>
                <a:latin typeface="Garamond" panose="02020404030301010803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Professor, Biology</a:t>
            </a:r>
            <a:endParaRPr lang="en-US" sz="1800" dirty="0">
              <a:solidFill>
                <a:schemeClr val="accent6">
                  <a:lumMod val="50000"/>
                </a:schemeClr>
              </a:solidFill>
              <a:latin typeface="Garamond" panose="02020404030301010803" pitchFamily="18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A706A127-5D94-4F71-B4B9-A46D6E6F1079}"/>
              </a:ext>
            </a:extLst>
          </p:cNvPr>
          <p:cNvSpPr txBox="1">
            <a:spLocks/>
          </p:cNvSpPr>
          <p:nvPr/>
        </p:nvSpPr>
        <p:spPr>
          <a:xfrm>
            <a:off x="1931046" y="1692905"/>
            <a:ext cx="2178532" cy="678836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buNone/>
            </a:pPr>
            <a:r>
              <a:rPr lang="en-US" sz="2000" dirty="0">
                <a:solidFill>
                  <a:srgbClr val="006633"/>
                </a:solidFill>
                <a:latin typeface="Franklin Gothic Demi Cond" panose="020B0706030402020204" pitchFamily="34" charset="0"/>
              </a:rPr>
              <a:t>Douglas </a:t>
            </a:r>
            <a:r>
              <a:rPr lang="en-US" sz="2000" dirty="0" err="1">
                <a:solidFill>
                  <a:srgbClr val="006633"/>
                </a:solidFill>
                <a:latin typeface="Franklin Gothic Demi Cond" panose="020B0706030402020204" pitchFamily="34" charset="0"/>
              </a:rPr>
              <a:t>Hirzel</a:t>
            </a:r>
            <a:endParaRPr lang="en-US" sz="2000" dirty="0">
              <a:solidFill>
                <a:srgbClr val="006633"/>
              </a:solidFill>
              <a:latin typeface="Franklin Gothic Demi Cond" panose="020B0706030402020204" pitchFamily="34" charset="0"/>
            </a:endParaRPr>
          </a:p>
        </p:txBody>
      </p:sp>
      <p:pic>
        <p:nvPicPr>
          <p:cNvPr id="16" name="Content Placeholder 6">
            <a:extLst>
              <a:ext uri="{FF2B5EF4-FFF2-40B4-BE49-F238E27FC236}">
                <a16:creationId xmlns:a16="http://schemas.microsoft.com/office/drawing/2014/main" id="{4E309508-96F4-4FD8-975B-7940E5B41E65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19" t="-807" r="23351" b="807"/>
          <a:stretch/>
        </p:blipFill>
        <p:spPr>
          <a:xfrm rot="5400000">
            <a:off x="396302" y="4218511"/>
            <a:ext cx="1490472" cy="1490472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20" name="Content Placeholder 6">
            <a:extLst>
              <a:ext uri="{FF2B5EF4-FFF2-40B4-BE49-F238E27FC236}">
                <a16:creationId xmlns:a16="http://schemas.microsoft.com/office/drawing/2014/main" id="{4E309508-96F4-4FD8-975B-7940E5B41E65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07" t="7134" r="-807" b="26438"/>
          <a:stretch/>
        </p:blipFill>
        <p:spPr>
          <a:xfrm>
            <a:off x="4251013" y="1697635"/>
            <a:ext cx="1490472" cy="1490472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sp>
        <p:nvSpPr>
          <p:cNvPr id="21" name="Round Single Corner Rectangle 20"/>
          <p:cNvSpPr/>
          <p:nvPr/>
        </p:nvSpPr>
        <p:spPr>
          <a:xfrm>
            <a:off x="6331275" y="3815319"/>
            <a:ext cx="2470548" cy="359947"/>
          </a:xfrm>
          <a:prstGeom prst="round1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5" name="Content Placeholder 6">
            <a:extLst>
              <a:ext uri="{FF2B5EF4-FFF2-40B4-BE49-F238E27FC236}">
                <a16:creationId xmlns:a16="http://schemas.microsoft.com/office/drawing/2014/main" id="{4E309508-96F4-4FD8-975B-7940E5B41E65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662" t="807" r="494" b="-807"/>
          <a:stretch/>
        </p:blipFill>
        <p:spPr>
          <a:xfrm>
            <a:off x="4314114" y="4245033"/>
            <a:ext cx="1490472" cy="1490472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sp>
        <p:nvSpPr>
          <p:cNvPr id="26" name="Round Single Corner Rectangle 25"/>
          <p:cNvSpPr/>
          <p:nvPr/>
        </p:nvSpPr>
        <p:spPr>
          <a:xfrm>
            <a:off x="9311961" y="3798557"/>
            <a:ext cx="2430395" cy="359947"/>
          </a:xfrm>
          <a:prstGeom prst="round1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4" name="Content Placeholder 6">
            <a:extLst>
              <a:ext uri="{FF2B5EF4-FFF2-40B4-BE49-F238E27FC236}">
                <a16:creationId xmlns:a16="http://schemas.microsoft.com/office/drawing/2014/main" id="{4E309508-96F4-4FD8-975B-7940E5B41E65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257" t="8227" r="15541" b="2170"/>
          <a:stretch/>
        </p:blipFill>
        <p:spPr>
          <a:xfrm>
            <a:off x="8268165" y="1716968"/>
            <a:ext cx="1490472" cy="1490472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29" name="Content Placeholder 6">
            <a:extLst>
              <a:ext uri="{FF2B5EF4-FFF2-40B4-BE49-F238E27FC236}">
                <a16:creationId xmlns:a16="http://schemas.microsoft.com/office/drawing/2014/main" id="{4E309508-96F4-4FD8-975B-7940E5B41E65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72656" y="4236523"/>
            <a:ext cx="1487531" cy="1487531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sp>
        <p:nvSpPr>
          <p:cNvPr id="30" name="Content Placeholder 2"/>
          <p:cNvSpPr txBox="1">
            <a:spLocks/>
          </p:cNvSpPr>
          <p:nvPr/>
        </p:nvSpPr>
        <p:spPr>
          <a:xfrm>
            <a:off x="5963669" y="2020184"/>
            <a:ext cx="2417370" cy="113485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ts val="1600"/>
              </a:lnSpc>
              <a:buNone/>
            </a:pPr>
            <a:r>
              <a:rPr lang="en-AU" sz="1800" dirty="0">
                <a:solidFill>
                  <a:schemeClr val="accent6">
                    <a:lumMod val="50000"/>
                  </a:schemeClr>
                </a:solidFill>
                <a:latin typeface="Garamond" panose="02020404030301010803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Executive Assistant, Office of the Vice President of </a:t>
            </a:r>
            <a:br>
              <a:rPr lang="en-AU" sz="1800" dirty="0">
                <a:solidFill>
                  <a:schemeClr val="accent6">
                    <a:lumMod val="50000"/>
                  </a:schemeClr>
                </a:solidFill>
                <a:latin typeface="Garamond" panose="02020404030301010803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</a:br>
            <a:r>
              <a:rPr lang="en-AU" sz="1800" dirty="0">
                <a:solidFill>
                  <a:schemeClr val="accent6">
                    <a:lumMod val="50000"/>
                  </a:schemeClr>
                </a:solidFill>
                <a:latin typeface="Garamond" panose="02020404030301010803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Student Services</a:t>
            </a:r>
            <a:endParaRPr lang="en-US" sz="1800" dirty="0">
              <a:solidFill>
                <a:schemeClr val="accent6">
                  <a:lumMod val="50000"/>
                </a:schemeClr>
              </a:solidFill>
              <a:latin typeface="Garamond" panose="02020404030301010803" pitchFamily="18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31" name="Content Placeholder 2">
            <a:extLst>
              <a:ext uri="{FF2B5EF4-FFF2-40B4-BE49-F238E27FC236}">
                <a16:creationId xmlns:a16="http://schemas.microsoft.com/office/drawing/2014/main" id="{A706A127-5D94-4F71-B4B9-A46D6E6F1079}"/>
              </a:ext>
            </a:extLst>
          </p:cNvPr>
          <p:cNvSpPr txBox="1">
            <a:spLocks/>
          </p:cNvSpPr>
          <p:nvPr/>
        </p:nvSpPr>
        <p:spPr>
          <a:xfrm>
            <a:off x="5783197" y="1716969"/>
            <a:ext cx="2192427" cy="678836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buNone/>
            </a:pPr>
            <a:r>
              <a:rPr lang="en-US" sz="2000" dirty="0">
                <a:solidFill>
                  <a:srgbClr val="006633"/>
                </a:solidFill>
                <a:latin typeface="Franklin Gothic Demi Cond" panose="020B0706030402020204" pitchFamily="34" charset="0"/>
              </a:rPr>
              <a:t>Deborah Joy</a:t>
            </a:r>
          </a:p>
        </p:txBody>
      </p:sp>
      <p:sp>
        <p:nvSpPr>
          <p:cNvPr id="32" name="Content Placeholder 2"/>
          <p:cNvSpPr txBox="1">
            <a:spLocks/>
          </p:cNvSpPr>
          <p:nvPr/>
        </p:nvSpPr>
        <p:spPr>
          <a:xfrm>
            <a:off x="10030594" y="2020183"/>
            <a:ext cx="2417370" cy="113485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ts val="2000"/>
              </a:lnSpc>
              <a:buNone/>
            </a:pPr>
            <a:r>
              <a:rPr lang="en-AU" sz="1800" dirty="0">
                <a:solidFill>
                  <a:schemeClr val="accent6">
                    <a:lumMod val="50000"/>
                  </a:schemeClr>
                </a:solidFill>
                <a:latin typeface="Garamond" panose="02020404030301010803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Professor, </a:t>
            </a:r>
            <a:br>
              <a:rPr lang="en-AU" sz="1800" dirty="0">
                <a:solidFill>
                  <a:schemeClr val="accent6">
                    <a:lumMod val="50000"/>
                  </a:schemeClr>
                </a:solidFill>
                <a:latin typeface="Garamond" panose="02020404030301010803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</a:br>
            <a:r>
              <a:rPr lang="en-AU" sz="1800" dirty="0">
                <a:solidFill>
                  <a:schemeClr val="accent6">
                    <a:lumMod val="50000"/>
                  </a:schemeClr>
                </a:solidFill>
                <a:latin typeface="Garamond" panose="02020404030301010803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Mathematics</a:t>
            </a:r>
            <a:endParaRPr lang="en-US" sz="1800" dirty="0">
              <a:solidFill>
                <a:schemeClr val="accent6">
                  <a:lumMod val="50000"/>
                </a:schemeClr>
              </a:solidFill>
              <a:latin typeface="Garamond" panose="02020404030301010803" pitchFamily="18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33" name="Content Placeholder 2">
            <a:extLst>
              <a:ext uri="{FF2B5EF4-FFF2-40B4-BE49-F238E27FC236}">
                <a16:creationId xmlns:a16="http://schemas.microsoft.com/office/drawing/2014/main" id="{A706A127-5D94-4F71-B4B9-A46D6E6F1079}"/>
              </a:ext>
            </a:extLst>
          </p:cNvPr>
          <p:cNvSpPr txBox="1">
            <a:spLocks/>
          </p:cNvSpPr>
          <p:nvPr/>
        </p:nvSpPr>
        <p:spPr>
          <a:xfrm>
            <a:off x="9826058" y="1716968"/>
            <a:ext cx="2192427" cy="678836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buNone/>
            </a:pPr>
            <a:r>
              <a:rPr lang="en-US" sz="2000" dirty="0">
                <a:solidFill>
                  <a:srgbClr val="006633"/>
                </a:solidFill>
                <a:latin typeface="Franklin Gothic Demi Cond" panose="020B0706030402020204" pitchFamily="34" charset="0"/>
              </a:rPr>
              <a:t>Raymond </a:t>
            </a:r>
            <a:r>
              <a:rPr lang="en-US" sz="2000" dirty="0" err="1">
                <a:solidFill>
                  <a:srgbClr val="006633"/>
                </a:solidFill>
                <a:latin typeface="Franklin Gothic Demi Cond" panose="020B0706030402020204" pitchFamily="34" charset="0"/>
              </a:rPr>
              <a:t>Lapuz</a:t>
            </a:r>
            <a:endParaRPr lang="en-US" sz="2000" dirty="0">
              <a:solidFill>
                <a:srgbClr val="006633"/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40" name="Content Placeholder 2"/>
          <p:cNvSpPr txBox="1">
            <a:spLocks/>
          </p:cNvSpPr>
          <p:nvPr/>
        </p:nvSpPr>
        <p:spPr>
          <a:xfrm>
            <a:off x="2146246" y="4545789"/>
            <a:ext cx="2178532" cy="113485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ts val="1600"/>
              </a:lnSpc>
              <a:buNone/>
            </a:pPr>
            <a:r>
              <a:rPr lang="en-AU" sz="1800" dirty="0">
                <a:solidFill>
                  <a:schemeClr val="accent6">
                    <a:lumMod val="50000"/>
                  </a:schemeClr>
                </a:solidFill>
                <a:latin typeface="Garamond" panose="02020404030301010803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Professor,</a:t>
            </a:r>
            <a:br>
              <a:rPr lang="en-AU" sz="1800" dirty="0">
                <a:solidFill>
                  <a:schemeClr val="accent6">
                    <a:lumMod val="50000"/>
                  </a:schemeClr>
                </a:solidFill>
                <a:latin typeface="Garamond" panose="02020404030301010803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</a:br>
            <a:r>
              <a:rPr lang="en-AU" sz="1800" dirty="0">
                <a:solidFill>
                  <a:schemeClr val="accent6">
                    <a:lumMod val="50000"/>
                  </a:schemeClr>
                </a:solidFill>
                <a:latin typeface="Garamond" panose="02020404030301010803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Spanish and Linguistics</a:t>
            </a:r>
            <a:endParaRPr lang="en-US" sz="1800" dirty="0">
              <a:solidFill>
                <a:schemeClr val="accent6">
                  <a:lumMod val="50000"/>
                </a:schemeClr>
              </a:solidFill>
              <a:latin typeface="Garamond" panose="02020404030301010803" pitchFamily="18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41" name="Content Placeholder 2">
            <a:extLst>
              <a:ext uri="{FF2B5EF4-FFF2-40B4-BE49-F238E27FC236}">
                <a16:creationId xmlns:a16="http://schemas.microsoft.com/office/drawing/2014/main" id="{A706A127-5D94-4F71-B4B9-A46D6E6F1079}"/>
              </a:ext>
            </a:extLst>
          </p:cNvPr>
          <p:cNvSpPr txBox="1">
            <a:spLocks/>
          </p:cNvSpPr>
          <p:nvPr/>
        </p:nvSpPr>
        <p:spPr>
          <a:xfrm>
            <a:off x="1941710" y="4218511"/>
            <a:ext cx="2178532" cy="678836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buNone/>
            </a:pPr>
            <a:r>
              <a:rPr lang="en-US" sz="2000" dirty="0">
                <a:solidFill>
                  <a:srgbClr val="006633"/>
                </a:solidFill>
                <a:latin typeface="Franklin Gothic Demi Cond" panose="020B0706030402020204" pitchFamily="34" charset="0"/>
              </a:rPr>
              <a:t>Monica Malamud</a:t>
            </a:r>
          </a:p>
        </p:txBody>
      </p:sp>
      <p:sp>
        <p:nvSpPr>
          <p:cNvPr id="42" name="Content Placeholder 2"/>
          <p:cNvSpPr txBox="1">
            <a:spLocks/>
          </p:cNvSpPr>
          <p:nvPr/>
        </p:nvSpPr>
        <p:spPr>
          <a:xfrm>
            <a:off x="5974333" y="4533758"/>
            <a:ext cx="2417370" cy="113485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defPPr>
              <a:defRPr lang="en-US"/>
            </a:defPPr>
            <a:lvl1pPr indent="0">
              <a:lnSpc>
                <a:spcPts val="2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>
                <a:solidFill>
                  <a:srgbClr val="006633"/>
                </a:solidFill>
                <a:latin typeface="Adobe Garamond Pro" panose="02020502060506020403" pitchFamily="18" charset="0"/>
              </a:defRPr>
            </a:lvl1pPr>
            <a:lvl2pPr marL="685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r>
              <a:rPr lang="en-US" sz="1800" dirty="0">
                <a:solidFill>
                  <a:schemeClr val="accent6">
                    <a:lumMod val="50000"/>
                  </a:schemeClr>
                </a:solidFill>
                <a:latin typeface="Garamond" panose="02020404030301010803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Professor, ESL</a:t>
            </a:r>
          </a:p>
        </p:txBody>
      </p:sp>
      <p:sp>
        <p:nvSpPr>
          <p:cNvPr id="43" name="Content Placeholder 2">
            <a:extLst>
              <a:ext uri="{FF2B5EF4-FFF2-40B4-BE49-F238E27FC236}">
                <a16:creationId xmlns:a16="http://schemas.microsoft.com/office/drawing/2014/main" id="{A706A127-5D94-4F71-B4B9-A46D6E6F1079}"/>
              </a:ext>
            </a:extLst>
          </p:cNvPr>
          <p:cNvSpPr txBox="1">
            <a:spLocks/>
          </p:cNvSpPr>
          <p:nvPr/>
        </p:nvSpPr>
        <p:spPr>
          <a:xfrm>
            <a:off x="5868081" y="4242574"/>
            <a:ext cx="2192427" cy="678836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buNone/>
            </a:pPr>
            <a:r>
              <a:rPr lang="en-US" sz="2000" dirty="0">
                <a:solidFill>
                  <a:srgbClr val="006633"/>
                </a:solidFill>
                <a:latin typeface="Franklin Gothic Demi Cond" panose="020B0706030402020204" pitchFamily="34" charset="0"/>
              </a:rPr>
              <a:t>Katherine </a:t>
            </a:r>
            <a:r>
              <a:rPr lang="en-US" sz="2000" dirty="0" err="1">
                <a:solidFill>
                  <a:srgbClr val="006633"/>
                </a:solidFill>
                <a:latin typeface="Franklin Gothic Demi Cond" panose="020B0706030402020204" pitchFamily="34" charset="0"/>
              </a:rPr>
              <a:t>Schertle</a:t>
            </a:r>
            <a:endParaRPr lang="en-US" sz="2000" dirty="0">
              <a:solidFill>
                <a:srgbClr val="006633"/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44" name="Content Placeholder 2"/>
          <p:cNvSpPr txBox="1">
            <a:spLocks/>
          </p:cNvSpPr>
          <p:nvPr/>
        </p:nvSpPr>
        <p:spPr>
          <a:xfrm>
            <a:off x="10041258" y="4533757"/>
            <a:ext cx="2417370" cy="113485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ts val="2000"/>
              </a:lnSpc>
              <a:buNone/>
            </a:pPr>
            <a:r>
              <a:rPr lang="en-AU" sz="1800" dirty="0">
                <a:solidFill>
                  <a:schemeClr val="accent6">
                    <a:lumMod val="50000"/>
                  </a:schemeClr>
                </a:solidFill>
                <a:latin typeface="Garamond" panose="02020404030301010803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Professor, English</a:t>
            </a:r>
            <a:endParaRPr lang="en-US" sz="1800" dirty="0">
              <a:solidFill>
                <a:schemeClr val="accent6">
                  <a:lumMod val="50000"/>
                </a:schemeClr>
              </a:solidFill>
              <a:latin typeface="Garamond" panose="02020404030301010803" pitchFamily="18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45" name="Content Placeholder 2">
            <a:extLst>
              <a:ext uri="{FF2B5EF4-FFF2-40B4-BE49-F238E27FC236}">
                <a16:creationId xmlns:a16="http://schemas.microsoft.com/office/drawing/2014/main" id="{A706A127-5D94-4F71-B4B9-A46D6E6F1079}"/>
              </a:ext>
            </a:extLst>
          </p:cNvPr>
          <p:cNvSpPr txBox="1">
            <a:spLocks/>
          </p:cNvSpPr>
          <p:nvPr/>
        </p:nvSpPr>
        <p:spPr>
          <a:xfrm>
            <a:off x="9836722" y="4242574"/>
            <a:ext cx="2192427" cy="678836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buNone/>
            </a:pPr>
            <a:r>
              <a:rPr lang="en-US" sz="2000" dirty="0">
                <a:solidFill>
                  <a:srgbClr val="006633"/>
                </a:solidFill>
                <a:latin typeface="Franklin Gothic Demi Cond" panose="020B0706030402020204" pitchFamily="34" charset="0"/>
              </a:rPr>
              <a:t>Yolanda Valenzuela</a:t>
            </a:r>
          </a:p>
        </p:txBody>
      </p:sp>
    </p:spTree>
    <p:extLst>
      <p:ext uri="{BB962C8B-B14F-4D97-AF65-F5344CB8AC3E}">
        <p14:creationId xmlns:p14="http://schemas.microsoft.com/office/powerpoint/2010/main" val="3311279079"/>
      </p:ext>
    </p:extLst>
  </p:cSld>
  <p:clrMapOvr>
    <a:masterClrMapping/>
  </p:clrMapOvr>
  <p:transition spd="slow">
    <p:cover/>
  </p:transition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" name="Content Placeholder 6">
            <a:extLst>
              <a:ext uri="{FF2B5EF4-FFF2-40B4-BE49-F238E27FC236}">
                <a16:creationId xmlns:a16="http://schemas.microsoft.com/office/drawing/2014/main" id="{4E309508-96F4-4FD8-975B-7940E5B41E65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643" b="18007"/>
          <a:stretch/>
        </p:blipFill>
        <p:spPr>
          <a:xfrm>
            <a:off x="438264" y="1695880"/>
            <a:ext cx="2450592" cy="2450592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BF518A3A-ECE0-42A2-BD7B-43096BD7B6FA}"/>
              </a:ext>
            </a:extLst>
          </p:cNvPr>
          <p:cNvSpPr/>
          <p:nvPr/>
        </p:nvSpPr>
        <p:spPr>
          <a:xfrm>
            <a:off x="366852" y="228614"/>
            <a:ext cx="11458296" cy="690843"/>
          </a:xfrm>
          <a:prstGeom prst="rect">
            <a:avLst/>
          </a:prstGeom>
          <a:solidFill>
            <a:srgbClr val="006633"/>
          </a:solidFill>
          <a:ln>
            <a:noFill/>
          </a:ln>
          <a:effectLst/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/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733704" y="298960"/>
            <a:ext cx="10515600" cy="528108"/>
          </a:xfrm>
        </p:spPr>
        <p:txBody>
          <a:bodyPr>
            <a:normAutofit fontScale="90000"/>
          </a:bodyPr>
          <a:lstStyle/>
          <a:p>
            <a:pPr algn="ctr"/>
            <a:r>
              <a:rPr lang="en-US" sz="3600" b="1" dirty="0" err="1">
                <a:solidFill>
                  <a:schemeClr val="bg1"/>
                </a:solidFill>
                <a:effectLst>
                  <a:outerShdw blurRad="50800" dist="50800" dir="5400000" algn="ctr" rotWithShape="0">
                    <a:srgbClr val="000000">
                      <a:alpha val="43137"/>
                    </a:srgbClr>
                  </a:outerShdw>
                </a:effectLst>
                <a:latin typeface="Franklin Gothic Book" panose="020B0503020102020204" pitchFamily="34" charset="0"/>
              </a:rPr>
              <a:t>Cañada</a:t>
            </a:r>
            <a:r>
              <a:rPr lang="en-US" sz="3600" b="1" dirty="0">
                <a:solidFill>
                  <a:schemeClr val="bg1"/>
                </a:solidFill>
                <a:effectLst>
                  <a:outerShdw blurRad="50800" dist="50800" dir="5400000" algn="ctr" rotWithShape="0">
                    <a:srgbClr val="000000">
                      <a:alpha val="43137"/>
                    </a:srgbClr>
                  </a:outerShdw>
                </a:effectLst>
                <a:latin typeface="Franklin Gothic Book" panose="020B0503020102020204" pitchFamily="34" charset="0"/>
              </a:rPr>
              <a:t> College – 10 Years Service Awards</a:t>
            </a:r>
          </a:p>
        </p:txBody>
      </p:sp>
      <p:sp>
        <p:nvSpPr>
          <p:cNvPr id="7" name="Rectangle 9">
            <a:extLst>
              <a:ext uri="{FF2B5EF4-FFF2-40B4-BE49-F238E27FC236}">
                <a16:creationId xmlns:a16="http://schemas.microsoft.com/office/drawing/2014/main" id="{29C5912D-DD36-465B-BD92-BB0220505875}"/>
              </a:ext>
            </a:extLst>
          </p:cNvPr>
          <p:cNvSpPr/>
          <p:nvPr/>
        </p:nvSpPr>
        <p:spPr>
          <a:xfrm rot="10800000" flipH="1">
            <a:off x="366852" y="228614"/>
            <a:ext cx="1788160" cy="690775"/>
          </a:xfrm>
          <a:custGeom>
            <a:avLst/>
            <a:gdLst>
              <a:gd name="connsiteX0" fmla="*/ 0 w 1995342"/>
              <a:gd name="connsiteY0" fmla="*/ 0 h 690843"/>
              <a:gd name="connsiteX1" fmla="*/ 1995342 w 1995342"/>
              <a:gd name="connsiteY1" fmla="*/ 0 h 690843"/>
              <a:gd name="connsiteX2" fmla="*/ 1995342 w 1995342"/>
              <a:gd name="connsiteY2" fmla="*/ 690843 h 690843"/>
              <a:gd name="connsiteX3" fmla="*/ 0 w 1995342"/>
              <a:gd name="connsiteY3" fmla="*/ 690843 h 690843"/>
              <a:gd name="connsiteX4" fmla="*/ 0 w 1995342"/>
              <a:gd name="connsiteY4" fmla="*/ 0 h 690843"/>
              <a:gd name="connsiteX0" fmla="*/ 0 w 1995342"/>
              <a:gd name="connsiteY0" fmla="*/ 0 h 690843"/>
              <a:gd name="connsiteX1" fmla="*/ 1375630 w 1995342"/>
              <a:gd name="connsiteY1" fmla="*/ 0 h 690843"/>
              <a:gd name="connsiteX2" fmla="*/ 1995342 w 1995342"/>
              <a:gd name="connsiteY2" fmla="*/ 690843 h 690843"/>
              <a:gd name="connsiteX3" fmla="*/ 0 w 1995342"/>
              <a:gd name="connsiteY3" fmla="*/ 690843 h 690843"/>
              <a:gd name="connsiteX4" fmla="*/ 0 w 1995342"/>
              <a:gd name="connsiteY4" fmla="*/ 0 h 690843"/>
              <a:gd name="connsiteX0" fmla="*/ 0 w 1995342"/>
              <a:gd name="connsiteY0" fmla="*/ 0 h 690843"/>
              <a:gd name="connsiteX1" fmla="*/ 1427711 w 1995342"/>
              <a:gd name="connsiteY1" fmla="*/ 53873 h 690843"/>
              <a:gd name="connsiteX2" fmla="*/ 1995342 w 1995342"/>
              <a:gd name="connsiteY2" fmla="*/ 690843 h 690843"/>
              <a:gd name="connsiteX3" fmla="*/ 0 w 1995342"/>
              <a:gd name="connsiteY3" fmla="*/ 690843 h 690843"/>
              <a:gd name="connsiteX4" fmla="*/ 0 w 1995342"/>
              <a:gd name="connsiteY4" fmla="*/ 0 h 690843"/>
              <a:gd name="connsiteX0" fmla="*/ 26571 w 1995342"/>
              <a:gd name="connsiteY0" fmla="*/ 15898 h 636970"/>
              <a:gd name="connsiteX1" fmla="*/ 1427711 w 1995342"/>
              <a:gd name="connsiteY1" fmla="*/ 0 h 636970"/>
              <a:gd name="connsiteX2" fmla="*/ 1995342 w 1995342"/>
              <a:gd name="connsiteY2" fmla="*/ 636970 h 636970"/>
              <a:gd name="connsiteX3" fmla="*/ 0 w 1995342"/>
              <a:gd name="connsiteY3" fmla="*/ 636970 h 636970"/>
              <a:gd name="connsiteX4" fmla="*/ 26571 w 1995342"/>
              <a:gd name="connsiteY4" fmla="*/ 15898 h 636970"/>
              <a:gd name="connsiteX0" fmla="*/ 0 w 1995342"/>
              <a:gd name="connsiteY0" fmla="*/ 0 h 640502"/>
              <a:gd name="connsiteX1" fmla="*/ 1427711 w 1995342"/>
              <a:gd name="connsiteY1" fmla="*/ 3532 h 640502"/>
              <a:gd name="connsiteX2" fmla="*/ 1995342 w 1995342"/>
              <a:gd name="connsiteY2" fmla="*/ 640502 h 640502"/>
              <a:gd name="connsiteX3" fmla="*/ 0 w 1995342"/>
              <a:gd name="connsiteY3" fmla="*/ 640502 h 640502"/>
              <a:gd name="connsiteX4" fmla="*/ 0 w 1995342"/>
              <a:gd name="connsiteY4" fmla="*/ 0 h 640502"/>
              <a:gd name="connsiteX0" fmla="*/ 0 w 1995342"/>
              <a:gd name="connsiteY0" fmla="*/ 0 h 640502"/>
              <a:gd name="connsiteX1" fmla="*/ 1420271 w 1995342"/>
              <a:gd name="connsiteY1" fmla="*/ 1765 h 640502"/>
              <a:gd name="connsiteX2" fmla="*/ 1995342 w 1995342"/>
              <a:gd name="connsiteY2" fmla="*/ 640502 h 640502"/>
              <a:gd name="connsiteX3" fmla="*/ 0 w 1995342"/>
              <a:gd name="connsiteY3" fmla="*/ 640502 h 640502"/>
              <a:gd name="connsiteX4" fmla="*/ 0 w 1995342"/>
              <a:gd name="connsiteY4" fmla="*/ 0 h 640502"/>
              <a:gd name="connsiteX0" fmla="*/ 0 w 1995342"/>
              <a:gd name="connsiteY0" fmla="*/ 0 h 640502"/>
              <a:gd name="connsiteX1" fmla="*/ 1439402 w 1995342"/>
              <a:gd name="connsiteY1" fmla="*/ 3532 h 640502"/>
              <a:gd name="connsiteX2" fmla="*/ 1995342 w 1995342"/>
              <a:gd name="connsiteY2" fmla="*/ 640502 h 640502"/>
              <a:gd name="connsiteX3" fmla="*/ 0 w 1995342"/>
              <a:gd name="connsiteY3" fmla="*/ 640502 h 640502"/>
              <a:gd name="connsiteX4" fmla="*/ 0 w 1995342"/>
              <a:gd name="connsiteY4" fmla="*/ 0 h 640502"/>
              <a:gd name="connsiteX0" fmla="*/ 0 w 1995342"/>
              <a:gd name="connsiteY0" fmla="*/ 0 h 640502"/>
              <a:gd name="connsiteX1" fmla="*/ 1441528 w 1995342"/>
              <a:gd name="connsiteY1" fmla="*/ 1765 h 640502"/>
              <a:gd name="connsiteX2" fmla="*/ 1995342 w 1995342"/>
              <a:gd name="connsiteY2" fmla="*/ 640502 h 640502"/>
              <a:gd name="connsiteX3" fmla="*/ 0 w 1995342"/>
              <a:gd name="connsiteY3" fmla="*/ 640502 h 640502"/>
              <a:gd name="connsiteX4" fmla="*/ 0 w 1995342"/>
              <a:gd name="connsiteY4" fmla="*/ 0 h 640502"/>
              <a:gd name="connsiteX0" fmla="*/ 0 w 1995342"/>
              <a:gd name="connsiteY0" fmla="*/ 0 h 640502"/>
              <a:gd name="connsiteX1" fmla="*/ 1442591 w 1995342"/>
              <a:gd name="connsiteY1" fmla="*/ 882 h 640502"/>
              <a:gd name="connsiteX2" fmla="*/ 1995342 w 1995342"/>
              <a:gd name="connsiteY2" fmla="*/ 640502 h 640502"/>
              <a:gd name="connsiteX3" fmla="*/ 0 w 1995342"/>
              <a:gd name="connsiteY3" fmla="*/ 640502 h 640502"/>
              <a:gd name="connsiteX4" fmla="*/ 0 w 1995342"/>
              <a:gd name="connsiteY4" fmla="*/ 0 h 6405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95342" h="640502">
                <a:moveTo>
                  <a:pt x="0" y="0"/>
                </a:moveTo>
                <a:lnTo>
                  <a:pt x="1442591" y="882"/>
                </a:lnTo>
                <a:lnTo>
                  <a:pt x="1995342" y="640502"/>
                </a:lnTo>
                <a:lnTo>
                  <a:pt x="0" y="640502"/>
                </a:lnTo>
                <a:lnTo>
                  <a:pt x="0" y="0"/>
                </a:lnTo>
                <a:close/>
              </a:path>
            </a:pathLst>
          </a:custGeom>
          <a:ln>
            <a:noFill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sz="1100" dirty="0"/>
          </a:p>
        </p:txBody>
      </p:sp>
      <p:sp>
        <p:nvSpPr>
          <p:cNvPr id="13" name="Round Single Corner Rectangle 12"/>
          <p:cNvSpPr/>
          <p:nvPr/>
        </p:nvSpPr>
        <p:spPr>
          <a:xfrm>
            <a:off x="403912" y="3819568"/>
            <a:ext cx="2473943" cy="359947"/>
          </a:xfrm>
          <a:prstGeom prst="round1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/>
          <p:cNvSpPr txBox="1">
            <a:spLocks/>
          </p:cNvSpPr>
          <p:nvPr/>
        </p:nvSpPr>
        <p:spPr>
          <a:xfrm>
            <a:off x="403912" y="4348946"/>
            <a:ext cx="2495233" cy="96754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AU" sz="2200" dirty="0">
                <a:solidFill>
                  <a:srgbClr val="006633"/>
                </a:solidFill>
                <a:latin typeface="Adobe Garamond Pro" panose="02020502060506020403" pitchFamily="18" charset="0"/>
              </a:rPr>
              <a:t>Counselor, College for Working Adults</a:t>
            </a:r>
            <a:endParaRPr lang="en-US" sz="2200" dirty="0">
              <a:solidFill>
                <a:srgbClr val="006633"/>
              </a:solidFill>
              <a:latin typeface="Adobe Garamond Pro" panose="02020502060506020403" pitchFamily="18" charset="0"/>
            </a:endParaRP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A706A127-5D94-4F71-B4B9-A46D6E6F1079}"/>
              </a:ext>
            </a:extLst>
          </p:cNvPr>
          <p:cNvSpPr txBox="1">
            <a:spLocks/>
          </p:cNvSpPr>
          <p:nvPr/>
        </p:nvSpPr>
        <p:spPr>
          <a:xfrm>
            <a:off x="366852" y="3806977"/>
            <a:ext cx="2571596" cy="39399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2400" dirty="0" err="1">
                <a:solidFill>
                  <a:srgbClr val="006633"/>
                </a:solidFill>
                <a:latin typeface="Franklin Gothic Medium" panose="020B0603020102020204" pitchFamily="34" charset="0"/>
              </a:rPr>
              <a:t>Aricka</a:t>
            </a:r>
            <a:r>
              <a:rPr lang="en-US" sz="2400" dirty="0">
                <a:solidFill>
                  <a:srgbClr val="006633"/>
                </a:solidFill>
                <a:latin typeface="Franklin Gothic Medium" panose="020B0603020102020204" pitchFamily="34" charset="0"/>
              </a:rPr>
              <a:t> Bueno</a:t>
            </a:r>
          </a:p>
        </p:txBody>
      </p:sp>
      <p:pic>
        <p:nvPicPr>
          <p:cNvPr id="16" name="Content Placeholder 6">
            <a:extLst>
              <a:ext uri="{FF2B5EF4-FFF2-40B4-BE49-F238E27FC236}">
                <a16:creationId xmlns:a16="http://schemas.microsoft.com/office/drawing/2014/main" id="{4E309508-96F4-4FD8-975B-7940E5B41E65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974" t="5111" r="1708" b="12304"/>
          <a:stretch/>
        </p:blipFill>
        <p:spPr>
          <a:xfrm>
            <a:off x="3390684" y="1688475"/>
            <a:ext cx="2450592" cy="2450592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sp>
        <p:nvSpPr>
          <p:cNvPr id="17" name="Round Single Corner Rectangle 16"/>
          <p:cNvSpPr/>
          <p:nvPr/>
        </p:nvSpPr>
        <p:spPr>
          <a:xfrm>
            <a:off x="3382950" y="3793069"/>
            <a:ext cx="2472808" cy="359947"/>
          </a:xfrm>
          <a:prstGeom prst="round1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Content Placeholder 2"/>
          <p:cNvSpPr txBox="1">
            <a:spLocks/>
          </p:cNvSpPr>
          <p:nvPr/>
        </p:nvSpPr>
        <p:spPr>
          <a:xfrm>
            <a:off x="3382950" y="4322447"/>
            <a:ext cx="2495232" cy="967549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AU" sz="2200" dirty="0">
                <a:solidFill>
                  <a:srgbClr val="006633"/>
                </a:solidFill>
                <a:latin typeface="Adobe Garamond Pro" panose="02020502060506020403" pitchFamily="18" charset="0"/>
              </a:rPr>
              <a:t>Dean, Business, Design and Workforce Division</a:t>
            </a:r>
            <a:endParaRPr lang="en-US" sz="2200" dirty="0">
              <a:solidFill>
                <a:srgbClr val="006633"/>
              </a:solidFill>
              <a:latin typeface="Adobe Garamond Pro" panose="02020502060506020403" pitchFamily="18" charset="0"/>
            </a:endParaRPr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A706A127-5D94-4F71-B4B9-A46D6E6F1079}"/>
              </a:ext>
            </a:extLst>
          </p:cNvPr>
          <p:cNvSpPr txBox="1">
            <a:spLocks/>
          </p:cNvSpPr>
          <p:nvPr/>
        </p:nvSpPr>
        <p:spPr>
          <a:xfrm>
            <a:off x="3353372" y="3807776"/>
            <a:ext cx="2510824" cy="35384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2400" dirty="0" err="1">
                <a:solidFill>
                  <a:srgbClr val="006633"/>
                </a:solidFill>
                <a:latin typeface="Franklin Gothic Medium" panose="020B0603020102020204" pitchFamily="34" charset="0"/>
              </a:rPr>
              <a:t>Hyla</a:t>
            </a:r>
            <a:r>
              <a:rPr lang="en-US" sz="2400" dirty="0">
                <a:solidFill>
                  <a:srgbClr val="006633"/>
                </a:solidFill>
                <a:latin typeface="Franklin Gothic Medium" panose="020B0603020102020204" pitchFamily="34" charset="0"/>
              </a:rPr>
              <a:t> </a:t>
            </a:r>
            <a:r>
              <a:rPr lang="en-US" sz="2400" dirty="0" err="1">
                <a:solidFill>
                  <a:srgbClr val="006633"/>
                </a:solidFill>
                <a:latin typeface="Franklin Gothic Medium" panose="020B0603020102020204" pitchFamily="34" charset="0"/>
              </a:rPr>
              <a:t>Lacefield</a:t>
            </a:r>
            <a:endParaRPr lang="en-US" sz="2400" dirty="0">
              <a:solidFill>
                <a:srgbClr val="006633"/>
              </a:solidFill>
              <a:latin typeface="Franklin Gothic Medium" panose="020B0603020102020204" pitchFamily="34" charset="0"/>
            </a:endParaRPr>
          </a:p>
        </p:txBody>
      </p:sp>
      <p:pic>
        <p:nvPicPr>
          <p:cNvPr id="20" name="Content Placeholder 6">
            <a:extLst>
              <a:ext uri="{FF2B5EF4-FFF2-40B4-BE49-F238E27FC236}">
                <a16:creationId xmlns:a16="http://schemas.microsoft.com/office/drawing/2014/main" id="{4E309508-96F4-4FD8-975B-7940E5B41E65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55197" y="1700576"/>
            <a:ext cx="2446626" cy="2446626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sp>
        <p:nvSpPr>
          <p:cNvPr id="21" name="Round Single Corner Rectangle 20"/>
          <p:cNvSpPr/>
          <p:nvPr/>
        </p:nvSpPr>
        <p:spPr>
          <a:xfrm>
            <a:off x="6331275" y="3815319"/>
            <a:ext cx="2470548" cy="359947"/>
          </a:xfrm>
          <a:prstGeom prst="round1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Content Placeholder 2"/>
          <p:cNvSpPr txBox="1">
            <a:spLocks/>
          </p:cNvSpPr>
          <p:nvPr/>
        </p:nvSpPr>
        <p:spPr>
          <a:xfrm>
            <a:off x="6331275" y="4344696"/>
            <a:ext cx="2495233" cy="96754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AU" sz="2200" dirty="0">
                <a:solidFill>
                  <a:srgbClr val="006633"/>
                </a:solidFill>
                <a:latin typeface="Adobe Garamond Pro" panose="02020502060506020403" pitchFamily="18" charset="0"/>
              </a:rPr>
              <a:t>Counselor</a:t>
            </a:r>
            <a:endParaRPr lang="en-US" sz="2200" dirty="0">
              <a:solidFill>
                <a:srgbClr val="006633"/>
              </a:solidFill>
              <a:latin typeface="Adobe Garamond Pro" panose="02020502060506020403" pitchFamily="18" charset="0"/>
            </a:endParaRPr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A706A127-5D94-4F71-B4B9-A46D6E6F1079}"/>
              </a:ext>
            </a:extLst>
          </p:cNvPr>
          <p:cNvSpPr txBox="1">
            <a:spLocks/>
          </p:cNvSpPr>
          <p:nvPr/>
        </p:nvSpPr>
        <p:spPr>
          <a:xfrm>
            <a:off x="6291331" y="3802728"/>
            <a:ext cx="2521191" cy="309343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2400" dirty="0">
                <a:solidFill>
                  <a:srgbClr val="006633"/>
                </a:solidFill>
                <a:latin typeface="Franklin Gothic Medium" panose="020B0603020102020204" pitchFamily="34" charset="0"/>
              </a:rPr>
              <a:t>Sandra Mendez</a:t>
            </a:r>
          </a:p>
        </p:txBody>
      </p:sp>
      <p:pic>
        <p:nvPicPr>
          <p:cNvPr id="24" name="Content Placeholder 6">
            <a:extLst>
              <a:ext uri="{FF2B5EF4-FFF2-40B4-BE49-F238E27FC236}">
                <a16:creationId xmlns:a16="http://schemas.microsoft.com/office/drawing/2014/main" id="{4E309508-96F4-4FD8-975B-7940E5B41E65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032" t="-88589" r="27180" b="101701"/>
          <a:stretch/>
        </p:blipFill>
        <p:spPr>
          <a:xfrm>
            <a:off x="9295730" y="1695507"/>
            <a:ext cx="2446626" cy="2446626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sp>
        <p:nvSpPr>
          <p:cNvPr id="25" name="Round Single Corner Rectangle 24"/>
          <p:cNvSpPr/>
          <p:nvPr/>
        </p:nvSpPr>
        <p:spPr>
          <a:xfrm>
            <a:off x="9311961" y="3798557"/>
            <a:ext cx="2430395" cy="359947"/>
          </a:xfrm>
          <a:prstGeom prst="round1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Content Placeholder 2"/>
          <p:cNvSpPr txBox="1">
            <a:spLocks/>
          </p:cNvSpPr>
          <p:nvPr/>
        </p:nvSpPr>
        <p:spPr>
          <a:xfrm>
            <a:off x="9311961" y="4314287"/>
            <a:ext cx="2430396" cy="96754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AU" sz="2200" dirty="0">
                <a:solidFill>
                  <a:srgbClr val="006633"/>
                </a:solidFill>
                <a:latin typeface="Adobe Garamond Pro" panose="02020502060506020403" pitchFamily="18" charset="0"/>
              </a:rPr>
              <a:t>Associate Professor, Interior Design</a:t>
            </a:r>
            <a:endParaRPr lang="en-US" sz="2200" dirty="0">
              <a:solidFill>
                <a:srgbClr val="006633"/>
              </a:solidFill>
              <a:latin typeface="Adobe Garamond Pro" panose="02020502060506020403" pitchFamily="18" charset="0"/>
            </a:endParaRPr>
          </a:p>
        </p:txBody>
      </p:sp>
      <p:sp>
        <p:nvSpPr>
          <p:cNvPr id="27" name="Content Placeholder 2">
            <a:extLst>
              <a:ext uri="{FF2B5EF4-FFF2-40B4-BE49-F238E27FC236}">
                <a16:creationId xmlns:a16="http://schemas.microsoft.com/office/drawing/2014/main" id="{A706A127-5D94-4F71-B4B9-A46D6E6F1079}"/>
              </a:ext>
            </a:extLst>
          </p:cNvPr>
          <p:cNvSpPr txBox="1">
            <a:spLocks/>
          </p:cNvSpPr>
          <p:nvPr/>
        </p:nvSpPr>
        <p:spPr>
          <a:xfrm>
            <a:off x="9257023" y="3785968"/>
            <a:ext cx="2536184" cy="38771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2400" dirty="0">
                <a:solidFill>
                  <a:srgbClr val="006633"/>
                </a:solidFill>
                <a:latin typeface="Franklin Gothic Medium" panose="020B0603020102020204" pitchFamily="34" charset="0"/>
              </a:rPr>
              <a:t>Elsa Torres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7CED1FA2-EE00-4A22-8EFC-85FA097D37A9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74474" y="1728101"/>
            <a:ext cx="2289137" cy="20389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4134410"/>
      </p:ext>
    </p:extLst>
  </p:cSld>
  <p:clrMapOvr>
    <a:masterClrMapping/>
  </p:clrMapOvr>
  <p:transition spd="slow">
    <p:cover/>
  </p:transition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BF518A3A-ECE0-42A2-BD7B-43096BD7B6FA}"/>
              </a:ext>
            </a:extLst>
          </p:cNvPr>
          <p:cNvSpPr/>
          <p:nvPr/>
        </p:nvSpPr>
        <p:spPr>
          <a:xfrm>
            <a:off x="366852" y="228614"/>
            <a:ext cx="11458296" cy="690843"/>
          </a:xfrm>
          <a:prstGeom prst="rect">
            <a:avLst/>
          </a:prstGeom>
          <a:solidFill>
            <a:srgbClr val="006633"/>
          </a:solidFill>
          <a:ln>
            <a:noFill/>
          </a:ln>
          <a:effectLst/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/>
          </a:p>
        </p:txBody>
      </p:sp>
      <p:sp>
        <p:nvSpPr>
          <p:cNvPr id="7" name="Title 1"/>
          <p:cNvSpPr txBox="1">
            <a:spLocks/>
          </p:cNvSpPr>
          <p:nvPr/>
        </p:nvSpPr>
        <p:spPr>
          <a:xfrm>
            <a:off x="733704" y="323024"/>
            <a:ext cx="10515600" cy="528108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0000"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sz="3600" b="1" dirty="0">
                <a:solidFill>
                  <a:schemeClr val="bg1"/>
                </a:solidFill>
                <a:effectLst>
                  <a:outerShdw blurRad="50800" dist="50800" dir="5400000" algn="ctr" rotWithShape="0">
                    <a:srgbClr val="000000">
                      <a:alpha val="43137"/>
                    </a:srgbClr>
                  </a:outerShdw>
                </a:effectLst>
                <a:latin typeface="Franklin Gothic Book" panose="020B0503020102020204" pitchFamily="34" charset="0"/>
              </a:rPr>
              <a:t>Tenured </a:t>
            </a:r>
            <a:r>
              <a:rPr lang="en-US" sz="3600" b="1" dirty="0" smtClean="0">
                <a:solidFill>
                  <a:schemeClr val="bg1"/>
                </a:solidFill>
                <a:effectLst>
                  <a:outerShdw blurRad="50800" dist="50800" dir="5400000" algn="ctr" rotWithShape="0">
                    <a:srgbClr val="000000">
                      <a:alpha val="43137"/>
                    </a:srgbClr>
                  </a:outerShdw>
                </a:effectLst>
                <a:latin typeface="Franklin Gothic Book" panose="020B0503020102020204" pitchFamily="34" charset="0"/>
              </a:rPr>
              <a:t>Faculty</a:t>
            </a:r>
            <a:r>
              <a:rPr lang="en-US" sz="3600" b="1" dirty="0">
                <a:solidFill>
                  <a:schemeClr val="bg1"/>
                </a:solidFill>
                <a:effectLst>
                  <a:outerShdw blurRad="50800" dist="50800" dir="5400000" algn="ctr" rotWithShape="0">
                    <a:srgbClr val="000000">
                      <a:alpha val="43137"/>
                    </a:srgbClr>
                  </a:outerShdw>
                </a:effectLst>
                <a:latin typeface="Franklin Gothic Book" panose="020B0503020102020204" pitchFamily="34" charset="0"/>
              </a:rPr>
              <a:t>: 2020 &amp; 2021 </a:t>
            </a:r>
          </a:p>
        </p:txBody>
      </p:sp>
      <p:sp>
        <p:nvSpPr>
          <p:cNvPr id="8" name="Rectangle 9">
            <a:extLst>
              <a:ext uri="{FF2B5EF4-FFF2-40B4-BE49-F238E27FC236}">
                <a16:creationId xmlns:a16="http://schemas.microsoft.com/office/drawing/2014/main" id="{29C5912D-DD36-465B-BD92-BB0220505875}"/>
              </a:ext>
            </a:extLst>
          </p:cNvPr>
          <p:cNvSpPr/>
          <p:nvPr/>
        </p:nvSpPr>
        <p:spPr>
          <a:xfrm rot="10800000" flipH="1">
            <a:off x="366852" y="228614"/>
            <a:ext cx="1788160" cy="690775"/>
          </a:xfrm>
          <a:custGeom>
            <a:avLst/>
            <a:gdLst>
              <a:gd name="connsiteX0" fmla="*/ 0 w 1995342"/>
              <a:gd name="connsiteY0" fmla="*/ 0 h 690843"/>
              <a:gd name="connsiteX1" fmla="*/ 1995342 w 1995342"/>
              <a:gd name="connsiteY1" fmla="*/ 0 h 690843"/>
              <a:gd name="connsiteX2" fmla="*/ 1995342 w 1995342"/>
              <a:gd name="connsiteY2" fmla="*/ 690843 h 690843"/>
              <a:gd name="connsiteX3" fmla="*/ 0 w 1995342"/>
              <a:gd name="connsiteY3" fmla="*/ 690843 h 690843"/>
              <a:gd name="connsiteX4" fmla="*/ 0 w 1995342"/>
              <a:gd name="connsiteY4" fmla="*/ 0 h 690843"/>
              <a:gd name="connsiteX0" fmla="*/ 0 w 1995342"/>
              <a:gd name="connsiteY0" fmla="*/ 0 h 690843"/>
              <a:gd name="connsiteX1" fmla="*/ 1375630 w 1995342"/>
              <a:gd name="connsiteY1" fmla="*/ 0 h 690843"/>
              <a:gd name="connsiteX2" fmla="*/ 1995342 w 1995342"/>
              <a:gd name="connsiteY2" fmla="*/ 690843 h 690843"/>
              <a:gd name="connsiteX3" fmla="*/ 0 w 1995342"/>
              <a:gd name="connsiteY3" fmla="*/ 690843 h 690843"/>
              <a:gd name="connsiteX4" fmla="*/ 0 w 1995342"/>
              <a:gd name="connsiteY4" fmla="*/ 0 h 690843"/>
              <a:gd name="connsiteX0" fmla="*/ 0 w 1995342"/>
              <a:gd name="connsiteY0" fmla="*/ 0 h 690843"/>
              <a:gd name="connsiteX1" fmla="*/ 1427711 w 1995342"/>
              <a:gd name="connsiteY1" fmla="*/ 53873 h 690843"/>
              <a:gd name="connsiteX2" fmla="*/ 1995342 w 1995342"/>
              <a:gd name="connsiteY2" fmla="*/ 690843 h 690843"/>
              <a:gd name="connsiteX3" fmla="*/ 0 w 1995342"/>
              <a:gd name="connsiteY3" fmla="*/ 690843 h 690843"/>
              <a:gd name="connsiteX4" fmla="*/ 0 w 1995342"/>
              <a:gd name="connsiteY4" fmla="*/ 0 h 690843"/>
              <a:gd name="connsiteX0" fmla="*/ 26571 w 1995342"/>
              <a:gd name="connsiteY0" fmla="*/ 15898 h 636970"/>
              <a:gd name="connsiteX1" fmla="*/ 1427711 w 1995342"/>
              <a:gd name="connsiteY1" fmla="*/ 0 h 636970"/>
              <a:gd name="connsiteX2" fmla="*/ 1995342 w 1995342"/>
              <a:gd name="connsiteY2" fmla="*/ 636970 h 636970"/>
              <a:gd name="connsiteX3" fmla="*/ 0 w 1995342"/>
              <a:gd name="connsiteY3" fmla="*/ 636970 h 636970"/>
              <a:gd name="connsiteX4" fmla="*/ 26571 w 1995342"/>
              <a:gd name="connsiteY4" fmla="*/ 15898 h 636970"/>
              <a:gd name="connsiteX0" fmla="*/ 0 w 1995342"/>
              <a:gd name="connsiteY0" fmla="*/ 0 h 640502"/>
              <a:gd name="connsiteX1" fmla="*/ 1427711 w 1995342"/>
              <a:gd name="connsiteY1" fmla="*/ 3532 h 640502"/>
              <a:gd name="connsiteX2" fmla="*/ 1995342 w 1995342"/>
              <a:gd name="connsiteY2" fmla="*/ 640502 h 640502"/>
              <a:gd name="connsiteX3" fmla="*/ 0 w 1995342"/>
              <a:gd name="connsiteY3" fmla="*/ 640502 h 640502"/>
              <a:gd name="connsiteX4" fmla="*/ 0 w 1995342"/>
              <a:gd name="connsiteY4" fmla="*/ 0 h 640502"/>
              <a:gd name="connsiteX0" fmla="*/ 0 w 1995342"/>
              <a:gd name="connsiteY0" fmla="*/ 0 h 640502"/>
              <a:gd name="connsiteX1" fmla="*/ 1420271 w 1995342"/>
              <a:gd name="connsiteY1" fmla="*/ 1765 h 640502"/>
              <a:gd name="connsiteX2" fmla="*/ 1995342 w 1995342"/>
              <a:gd name="connsiteY2" fmla="*/ 640502 h 640502"/>
              <a:gd name="connsiteX3" fmla="*/ 0 w 1995342"/>
              <a:gd name="connsiteY3" fmla="*/ 640502 h 640502"/>
              <a:gd name="connsiteX4" fmla="*/ 0 w 1995342"/>
              <a:gd name="connsiteY4" fmla="*/ 0 h 640502"/>
              <a:gd name="connsiteX0" fmla="*/ 0 w 1995342"/>
              <a:gd name="connsiteY0" fmla="*/ 0 h 640502"/>
              <a:gd name="connsiteX1" fmla="*/ 1439402 w 1995342"/>
              <a:gd name="connsiteY1" fmla="*/ 3532 h 640502"/>
              <a:gd name="connsiteX2" fmla="*/ 1995342 w 1995342"/>
              <a:gd name="connsiteY2" fmla="*/ 640502 h 640502"/>
              <a:gd name="connsiteX3" fmla="*/ 0 w 1995342"/>
              <a:gd name="connsiteY3" fmla="*/ 640502 h 640502"/>
              <a:gd name="connsiteX4" fmla="*/ 0 w 1995342"/>
              <a:gd name="connsiteY4" fmla="*/ 0 h 640502"/>
              <a:gd name="connsiteX0" fmla="*/ 0 w 1995342"/>
              <a:gd name="connsiteY0" fmla="*/ 0 h 640502"/>
              <a:gd name="connsiteX1" fmla="*/ 1441528 w 1995342"/>
              <a:gd name="connsiteY1" fmla="*/ 1765 h 640502"/>
              <a:gd name="connsiteX2" fmla="*/ 1995342 w 1995342"/>
              <a:gd name="connsiteY2" fmla="*/ 640502 h 640502"/>
              <a:gd name="connsiteX3" fmla="*/ 0 w 1995342"/>
              <a:gd name="connsiteY3" fmla="*/ 640502 h 640502"/>
              <a:gd name="connsiteX4" fmla="*/ 0 w 1995342"/>
              <a:gd name="connsiteY4" fmla="*/ 0 h 640502"/>
              <a:gd name="connsiteX0" fmla="*/ 0 w 1995342"/>
              <a:gd name="connsiteY0" fmla="*/ 0 h 640502"/>
              <a:gd name="connsiteX1" fmla="*/ 1442591 w 1995342"/>
              <a:gd name="connsiteY1" fmla="*/ 882 h 640502"/>
              <a:gd name="connsiteX2" fmla="*/ 1995342 w 1995342"/>
              <a:gd name="connsiteY2" fmla="*/ 640502 h 640502"/>
              <a:gd name="connsiteX3" fmla="*/ 0 w 1995342"/>
              <a:gd name="connsiteY3" fmla="*/ 640502 h 640502"/>
              <a:gd name="connsiteX4" fmla="*/ 0 w 1995342"/>
              <a:gd name="connsiteY4" fmla="*/ 0 h 6405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95342" h="640502">
                <a:moveTo>
                  <a:pt x="0" y="0"/>
                </a:moveTo>
                <a:lnTo>
                  <a:pt x="1442591" y="882"/>
                </a:lnTo>
                <a:lnTo>
                  <a:pt x="1995342" y="640502"/>
                </a:lnTo>
                <a:lnTo>
                  <a:pt x="0" y="640502"/>
                </a:lnTo>
                <a:lnTo>
                  <a:pt x="0" y="0"/>
                </a:lnTo>
                <a:close/>
              </a:path>
            </a:pathLst>
          </a:custGeom>
          <a:ln>
            <a:noFill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sz="1100" dirty="0"/>
          </a:p>
        </p:txBody>
      </p:sp>
      <p:sp>
        <p:nvSpPr>
          <p:cNvPr id="21" name="Round Single Corner Rectangle 20"/>
          <p:cNvSpPr/>
          <p:nvPr/>
        </p:nvSpPr>
        <p:spPr>
          <a:xfrm>
            <a:off x="8572687" y="4361398"/>
            <a:ext cx="2470548" cy="359947"/>
          </a:xfrm>
          <a:prstGeom prst="round1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Round Single Corner Rectangle 25"/>
          <p:cNvSpPr/>
          <p:nvPr/>
        </p:nvSpPr>
        <p:spPr>
          <a:xfrm>
            <a:off x="9311961" y="3798557"/>
            <a:ext cx="2430395" cy="359947"/>
          </a:xfrm>
          <a:prstGeom prst="round1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Content Placeholder 6">
            <a:extLst>
              <a:ext uri="{FF2B5EF4-FFF2-40B4-BE49-F238E27FC236}">
                <a16:creationId xmlns:a16="http://schemas.microsoft.com/office/drawing/2014/main" id="{4E309508-96F4-4FD8-975B-7940E5B41E65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6302" y="1883144"/>
            <a:ext cx="1490472" cy="1490472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sp>
        <p:nvSpPr>
          <p:cNvPr id="11" name="Content Placeholder 2"/>
          <p:cNvSpPr txBox="1">
            <a:spLocks/>
          </p:cNvSpPr>
          <p:nvPr/>
        </p:nvSpPr>
        <p:spPr>
          <a:xfrm>
            <a:off x="1926012" y="2217832"/>
            <a:ext cx="2178532" cy="113485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ts val="1400"/>
              </a:lnSpc>
              <a:buNone/>
            </a:pPr>
            <a:r>
              <a:rPr lang="en-AU" sz="1800" dirty="0">
                <a:solidFill>
                  <a:schemeClr val="accent6">
                    <a:lumMod val="50000"/>
                  </a:schemeClr>
                </a:solidFill>
                <a:latin typeface="Garamond" panose="02020404030301010803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Humanities and Social Sciences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A706A127-5D94-4F71-B4B9-A46D6E6F1079}"/>
              </a:ext>
            </a:extLst>
          </p:cNvPr>
          <p:cNvSpPr txBox="1">
            <a:spLocks/>
          </p:cNvSpPr>
          <p:nvPr/>
        </p:nvSpPr>
        <p:spPr>
          <a:xfrm>
            <a:off x="1931046" y="1878414"/>
            <a:ext cx="2178532" cy="678836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buNone/>
            </a:pPr>
            <a:r>
              <a:rPr lang="en-US" sz="2000" dirty="0">
                <a:solidFill>
                  <a:srgbClr val="006633"/>
                </a:solidFill>
                <a:latin typeface="Franklin Gothic Demi Cond" panose="020B0706030402020204" pitchFamily="34" charset="0"/>
              </a:rPr>
              <a:t>David Eck</a:t>
            </a:r>
          </a:p>
        </p:txBody>
      </p:sp>
      <p:pic>
        <p:nvPicPr>
          <p:cNvPr id="14" name="Content Placeholder 6">
            <a:extLst>
              <a:ext uri="{FF2B5EF4-FFF2-40B4-BE49-F238E27FC236}">
                <a16:creationId xmlns:a16="http://schemas.microsoft.com/office/drawing/2014/main" id="{4E309508-96F4-4FD8-975B-7940E5B41E65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15535" y="4764590"/>
            <a:ext cx="1490472" cy="1490472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15" name="Content Placeholder 6">
            <a:extLst>
              <a:ext uri="{FF2B5EF4-FFF2-40B4-BE49-F238E27FC236}">
                <a16:creationId xmlns:a16="http://schemas.microsoft.com/office/drawing/2014/main" id="{4E309508-96F4-4FD8-975B-7940E5B41E65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07" t="-78126" r="-807" b="111698"/>
          <a:stretch/>
        </p:blipFill>
        <p:spPr>
          <a:xfrm>
            <a:off x="4251013" y="1883144"/>
            <a:ext cx="1490472" cy="1490472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sp>
        <p:nvSpPr>
          <p:cNvPr id="16" name="Round Single Corner Rectangle 15"/>
          <p:cNvSpPr/>
          <p:nvPr/>
        </p:nvSpPr>
        <p:spPr>
          <a:xfrm>
            <a:off x="8572687" y="4361398"/>
            <a:ext cx="2470548" cy="359947"/>
          </a:xfrm>
          <a:prstGeom prst="round1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7" name="Content Placeholder 6">
            <a:extLst>
              <a:ext uri="{FF2B5EF4-FFF2-40B4-BE49-F238E27FC236}">
                <a16:creationId xmlns:a16="http://schemas.microsoft.com/office/drawing/2014/main" id="{4E309508-96F4-4FD8-975B-7940E5B41E65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77693" y="4791112"/>
            <a:ext cx="1490472" cy="1490472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19" name="Content Placeholder 6">
            <a:extLst>
              <a:ext uri="{FF2B5EF4-FFF2-40B4-BE49-F238E27FC236}">
                <a16:creationId xmlns:a16="http://schemas.microsoft.com/office/drawing/2014/main" id="{4E309508-96F4-4FD8-975B-7940E5B41E65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07" t="8358" r="-807" b="16815"/>
          <a:stretch/>
        </p:blipFill>
        <p:spPr>
          <a:xfrm>
            <a:off x="8289755" y="1883144"/>
            <a:ext cx="1490472" cy="1490472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sp>
        <p:nvSpPr>
          <p:cNvPr id="22" name="Content Placeholder 2"/>
          <p:cNvSpPr txBox="1">
            <a:spLocks/>
          </p:cNvSpPr>
          <p:nvPr/>
        </p:nvSpPr>
        <p:spPr>
          <a:xfrm>
            <a:off x="5833147" y="2190180"/>
            <a:ext cx="2417370" cy="113485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ts val="1600"/>
              </a:lnSpc>
              <a:buNone/>
            </a:pPr>
            <a:r>
              <a:rPr lang="en-AU" sz="1800" dirty="0">
                <a:solidFill>
                  <a:schemeClr val="accent6">
                    <a:lumMod val="50000"/>
                  </a:schemeClr>
                </a:solidFill>
                <a:latin typeface="Garamond" panose="02020404030301010803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Science, Technology, and Math</a:t>
            </a:r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A706A127-5D94-4F71-B4B9-A46D6E6F1079}"/>
              </a:ext>
            </a:extLst>
          </p:cNvPr>
          <p:cNvSpPr txBox="1">
            <a:spLocks/>
          </p:cNvSpPr>
          <p:nvPr/>
        </p:nvSpPr>
        <p:spPr>
          <a:xfrm>
            <a:off x="5855035" y="1815454"/>
            <a:ext cx="2192427" cy="62108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buNone/>
            </a:pPr>
            <a:r>
              <a:rPr lang="en-US" sz="2000" dirty="0">
                <a:solidFill>
                  <a:srgbClr val="006633"/>
                </a:solidFill>
                <a:latin typeface="Franklin Gothic Demi Cond" panose="020B0706030402020204" pitchFamily="34" charset="0"/>
              </a:rPr>
              <a:t>David </a:t>
            </a:r>
            <a:r>
              <a:rPr lang="en-US" sz="2000" dirty="0" err="1">
                <a:solidFill>
                  <a:srgbClr val="006633"/>
                </a:solidFill>
                <a:latin typeface="Franklin Gothic Demi Cond" panose="020B0706030402020204" pitchFamily="34" charset="0"/>
              </a:rPr>
              <a:t>Monarres</a:t>
            </a:r>
            <a:endParaRPr lang="en-US" sz="2000" dirty="0">
              <a:solidFill>
                <a:srgbClr val="006633"/>
              </a:solidFill>
              <a:latin typeface="Franklin Gothic Demi Cond" panose="020B0706030402020204" pitchFamily="34" charset="0"/>
            </a:endParaRPr>
          </a:p>
          <a:p>
            <a:pPr marL="0" indent="0">
              <a:lnSpc>
                <a:spcPct val="100000"/>
              </a:lnSpc>
              <a:buNone/>
            </a:pPr>
            <a:endParaRPr lang="en-US" sz="2000" dirty="0">
              <a:solidFill>
                <a:srgbClr val="006633"/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24" name="Content Placeholder 2">
            <a:extLst>
              <a:ext uri="{FF2B5EF4-FFF2-40B4-BE49-F238E27FC236}">
                <a16:creationId xmlns:a16="http://schemas.microsoft.com/office/drawing/2014/main" id="{A706A127-5D94-4F71-B4B9-A46D6E6F1079}"/>
              </a:ext>
            </a:extLst>
          </p:cNvPr>
          <p:cNvSpPr txBox="1">
            <a:spLocks/>
          </p:cNvSpPr>
          <p:nvPr/>
        </p:nvSpPr>
        <p:spPr>
          <a:xfrm>
            <a:off x="9826058" y="1902477"/>
            <a:ext cx="2192427" cy="678836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buNone/>
            </a:pPr>
            <a:r>
              <a:rPr lang="en-US" sz="2000" dirty="0">
                <a:solidFill>
                  <a:srgbClr val="006633"/>
                </a:solidFill>
                <a:latin typeface="Franklin Gothic Demi Cond" panose="020B0706030402020204" pitchFamily="34" charset="0"/>
              </a:rPr>
              <a:t>Chris Rico</a:t>
            </a:r>
          </a:p>
        </p:txBody>
      </p:sp>
      <p:sp>
        <p:nvSpPr>
          <p:cNvPr id="25" name="Content Placeholder 2"/>
          <p:cNvSpPr txBox="1">
            <a:spLocks/>
          </p:cNvSpPr>
          <p:nvPr/>
        </p:nvSpPr>
        <p:spPr>
          <a:xfrm>
            <a:off x="3269502" y="5079837"/>
            <a:ext cx="2178532" cy="113485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ts val="1600"/>
              </a:lnSpc>
              <a:buNone/>
            </a:pPr>
            <a:r>
              <a:rPr lang="en-AU" sz="1800" dirty="0">
                <a:solidFill>
                  <a:schemeClr val="accent6">
                    <a:lumMod val="50000"/>
                  </a:schemeClr>
                </a:solidFill>
                <a:latin typeface="Garamond" panose="02020404030301010803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Science, Technology and Math</a:t>
            </a:r>
          </a:p>
        </p:txBody>
      </p:sp>
      <p:sp>
        <p:nvSpPr>
          <p:cNvPr id="27" name="Content Placeholder 2">
            <a:extLst>
              <a:ext uri="{FF2B5EF4-FFF2-40B4-BE49-F238E27FC236}">
                <a16:creationId xmlns:a16="http://schemas.microsoft.com/office/drawing/2014/main" id="{A706A127-5D94-4F71-B4B9-A46D6E6F1079}"/>
              </a:ext>
            </a:extLst>
          </p:cNvPr>
          <p:cNvSpPr txBox="1">
            <a:spLocks/>
          </p:cNvSpPr>
          <p:nvPr/>
        </p:nvSpPr>
        <p:spPr>
          <a:xfrm>
            <a:off x="3260943" y="4764590"/>
            <a:ext cx="2178532" cy="678836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buNone/>
            </a:pPr>
            <a:r>
              <a:rPr lang="en-US" sz="2000" dirty="0" err="1">
                <a:solidFill>
                  <a:srgbClr val="006633"/>
                </a:solidFill>
                <a:latin typeface="Franklin Gothic Demi Cond" panose="020B0706030402020204" pitchFamily="34" charset="0"/>
              </a:rPr>
              <a:t>Sumathi</a:t>
            </a:r>
            <a:r>
              <a:rPr lang="en-US" sz="2000" dirty="0">
                <a:solidFill>
                  <a:srgbClr val="006633"/>
                </a:solidFill>
                <a:latin typeface="Franklin Gothic Demi Cond" panose="020B0706030402020204" pitchFamily="34" charset="0"/>
              </a:rPr>
              <a:t> Shankar</a:t>
            </a:r>
          </a:p>
        </p:txBody>
      </p:sp>
      <p:sp>
        <p:nvSpPr>
          <p:cNvPr id="28" name="Content Placeholder 2"/>
          <p:cNvSpPr txBox="1">
            <a:spLocks/>
          </p:cNvSpPr>
          <p:nvPr/>
        </p:nvSpPr>
        <p:spPr>
          <a:xfrm>
            <a:off x="8340219" y="5079837"/>
            <a:ext cx="2417370" cy="113485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defPPr>
              <a:defRPr lang="en-US"/>
            </a:defPPr>
            <a:lvl1pPr indent="0">
              <a:lnSpc>
                <a:spcPts val="2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>
                <a:solidFill>
                  <a:srgbClr val="006633"/>
                </a:solidFill>
                <a:latin typeface="Adobe Garamond Pro" panose="02020502060506020403" pitchFamily="18" charset="0"/>
              </a:defRPr>
            </a:lvl1pPr>
            <a:lvl2pPr marL="685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r>
              <a:rPr lang="en-US" sz="1800" dirty="0">
                <a:solidFill>
                  <a:schemeClr val="accent6">
                    <a:lumMod val="50000"/>
                  </a:schemeClr>
                </a:solidFill>
                <a:latin typeface="Garamond" panose="02020404030301010803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Humanities and Social Sciences</a:t>
            </a:r>
          </a:p>
        </p:txBody>
      </p:sp>
      <p:sp>
        <p:nvSpPr>
          <p:cNvPr id="29" name="Content Placeholder 2">
            <a:extLst>
              <a:ext uri="{FF2B5EF4-FFF2-40B4-BE49-F238E27FC236}">
                <a16:creationId xmlns:a16="http://schemas.microsoft.com/office/drawing/2014/main" id="{A706A127-5D94-4F71-B4B9-A46D6E6F1079}"/>
              </a:ext>
            </a:extLst>
          </p:cNvPr>
          <p:cNvSpPr txBox="1">
            <a:spLocks/>
          </p:cNvSpPr>
          <p:nvPr/>
        </p:nvSpPr>
        <p:spPr>
          <a:xfrm>
            <a:off x="8331660" y="4788653"/>
            <a:ext cx="2192427" cy="678836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buNone/>
            </a:pPr>
            <a:r>
              <a:rPr lang="en-US" sz="2000" dirty="0">
                <a:solidFill>
                  <a:srgbClr val="006633"/>
                </a:solidFill>
                <a:latin typeface="Franklin Gothic Demi Cond" panose="020B0706030402020204" pitchFamily="34" charset="0"/>
              </a:rPr>
              <a:t>Maureen Wiley</a:t>
            </a:r>
          </a:p>
        </p:txBody>
      </p:sp>
      <p:sp>
        <p:nvSpPr>
          <p:cNvPr id="31" name="Content Placeholder 2"/>
          <p:cNvSpPr txBox="1">
            <a:spLocks/>
          </p:cNvSpPr>
          <p:nvPr/>
        </p:nvSpPr>
        <p:spPr>
          <a:xfrm>
            <a:off x="9819465" y="2238764"/>
            <a:ext cx="2417370" cy="113485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ts val="1600"/>
              </a:lnSpc>
              <a:buNone/>
            </a:pPr>
            <a:r>
              <a:rPr lang="en-AU" sz="1800" dirty="0" err="1">
                <a:solidFill>
                  <a:schemeClr val="accent6">
                    <a:lumMod val="50000"/>
                  </a:schemeClr>
                </a:solidFill>
                <a:latin typeface="Garamond" panose="02020404030301010803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Counseling</a:t>
            </a:r>
            <a:endParaRPr lang="en-AU" sz="1800" dirty="0">
              <a:solidFill>
                <a:schemeClr val="accent6">
                  <a:lumMod val="50000"/>
                </a:schemeClr>
              </a:solidFill>
              <a:latin typeface="Garamond" panose="02020404030301010803" pitchFamily="18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968420B0-056F-4AF9-A981-CF35673B7397}"/>
              </a:ext>
            </a:extLst>
          </p:cNvPr>
          <p:cNvSpPr/>
          <p:nvPr/>
        </p:nvSpPr>
        <p:spPr>
          <a:xfrm rot="10800000">
            <a:off x="366852" y="4143393"/>
            <a:ext cx="5120640" cy="45719"/>
          </a:xfrm>
          <a:prstGeom prst="rect">
            <a:avLst/>
          </a:prstGeom>
          <a:gradFill>
            <a:gsLst>
              <a:gs pos="0">
                <a:schemeClr val="bg1">
                  <a:lumMod val="95000"/>
                </a:schemeClr>
              </a:gs>
              <a:gs pos="50000">
                <a:schemeClr val="bg1">
                  <a:lumMod val="95000"/>
                </a:schemeClr>
              </a:gs>
              <a:gs pos="100000">
                <a:schemeClr val="bg1">
                  <a:lumMod val="85000"/>
                </a:schemeClr>
              </a:gs>
            </a:gsLst>
          </a:gradFill>
          <a:ln>
            <a:noFill/>
          </a:ln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" dirty="0"/>
          </a:p>
        </p:txBody>
      </p:sp>
      <p:sp>
        <p:nvSpPr>
          <p:cNvPr id="35" name="Content Placeholder 2">
            <a:extLst>
              <a:ext uri="{FF2B5EF4-FFF2-40B4-BE49-F238E27FC236}">
                <a16:creationId xmlns:a16="http://schemas.microsoft.com/office/drawing/2014/main" id="{A706A127-5D94-4F71-B4B9-A46D6E6F1079}"/>
              </a:ext>
            </a:extLst>
          </p:cNvPr>
          <p:cNvSpPr txBox="1">
            <a:spLocks/>
          </p:cNvSpPr>
          <p:nvPr/>
        </p:nvSpPr>
        <p:spPr>
          <a:xfrm>
            <a:off x="328137" y="3902210"/>
            <a:ext cx="11497010" cy="522096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3200" dirty="0">
                <a:solidFill>
                  <a:srgbClr val="006633"/>
                </a:solidFill>
                <a:latin typeface="Franklin Gothic Medium" panose="020B0603020102020204" pitchFamily="34" charset="0"/>
              </a:rPr>
              <a:t>2021</a:t>
            </a: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968420B0-056F-4AF9-A981-CF35673B7397}"/>
              </a:ext>
            </a:extLst>
          </p:cNvPr>
          <p:cNvSpPr/>
          <p:nvPr/>
        </p:nvSpPr>
        <p:spPr>
          <a:xfrm rot="10800000">
            <a:off x="6704507" y="4142188"/>
            <a:ext cx="5120640" cy="45719"/>
          </a:xfrm>
          <a:prstGeom prst="rect">
            <a:avLst/>
          </a:prstGeom>
          <a:gradFill>
            <a:gsLst>
              <a:gs pos="0">
                <a:schemeClr val="bg1">
                  <a:lumMod val="95000"/>
                </a:schemeClr>
              </a:gs>
              <a:gs pos="50000">
                <a:schemeClr val="bg1">
                  <a:lumMod val="95000"/>
                </a:schemeClr>
              </a:gs>
              <a:gs pos="100000">
                <a:schemeClr val="bg1">
                  <a:lumMod val="85000"/>
                </a:schemeClr>
              </a:gs>
            </a:gsLst>
          </a:gradFill>
          <a:ln>
            <a:noFill/>
          </a:ln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" dirty="0"/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968420B0-056F-4AF9-A981-CF35673B7397}"/>
              </a:ext>
            </a:extLst>
          </p:cNvPr>
          <p:cNvSpPr/>
          <p:nvPr/>
        </p:nvSpPr>
        <p:spPr>
          <a:xfrm rot="10800000">
            <a:off x="366852" y="1311047"/>
            <a:ext cx="5120640" cy="45719"/>
          </a:xfrm>
          <a:prstGeom prst="rect">
            <a:avLst/>
          </a:prstGeom>
          <a:gradFill>
            <a:gsLst>
              <a:gs pos="0">
                <a:schemeClr val="bg1">
                  <a:lumMod val="95000"/>
                </a:schemeClr>
              </a:gs>
              <a:gs pos="50000">
                <a:schemeClr val="bg1">
                  <a:lumMod val="95000"/>
                </a:schemeClr>
              </a:gs>
              <a:gs pos="100000">
                <a:schemeClr val="bg1">
                  <a:lumMod val="85000"/>
                </a:schemeClr>
              </a:gs>
            </a:gsLst>
          </a:gradFill>
          <a:ln>
            <a:noFill/>
          </a:ln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" dirty="0"/>
          </a:p>
        </p:txBody>
      </p:sp>
      <p:sp>
        <p:nvSpPr>
          <p:cNvPr id="38" name="Content Placeholder 2">
            <a:extLst>
              <a:ext uri="{FF2B5EF4-FFF2-40B4-BE49-F238E27FC236}">
                <a16:creationId xmlns:a16="http://schemas.microsoft.com/office/drawing/2014/main" id="{A706A127-5D94-4F71-B4B9-A46D6E6F1079}"/>
              </a:ext>
            </a:extLst>
          </p:cNvPr>
          <p:cNvSpPr txBox="1">
            <a:spLocks/>
          </p:cNvSpPr>
          <p:nvPr/>
        </p:nvSpPr>
        <p:spPr>
          <a:xfrm>
            <a:off x="328137" y="1069864"/>
            <a:ext cx="11497010" cy="522096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3200" dirty="0">
                <a:solidFill>
                  <a:srgbClr val="006633"/>
                </a:solidFill>
                <a:latin typeface="Franklin Gothic Medium" panose="020B0603020102020204" pitchFamily="34" charset="0"/>
              </a:rPr>
              <a:t>2020</a:t>
            </a: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968420B0-056F-4AF9-A981-CF35673B7397}"/>
              </a:ext>
            </a:extLst>
          </p:cNvPr>
          <p:cNvSpPr/>
          <p:nvPr/>
        </p:nvSpPr>
        <p:spPr>
          <a:xfrm rot="10800000">
            <a:off x="6704507" y="1309842"/>
            <a:ext cx="5120640" cy="45719"/>
          </a:xfrm>
          <a:prstGeom prst="rect">
            <a:avLst/>
          </a:prstGeom>
          <a:gradFill>
            <a:gsLst>
              <a:gs pos="0">
                <a:schemeClr val="bg1">
                  <a:lumMod val="95000"/>
                </a:schemeClr>
              </a:gs>
              <a:gs pos="50000">
                <a:schemeClr val="bg1">
                  <a:lumMod val="95000"/>
                </a:schemeClr>
              </a:gs>
              <a:gs pos="100000">
                <a:schemeClr val="bg1">
                  <a:lumMod val="85000"/>
                </a:schemeClr>
              </a:gs>
            </a:gsLst>
          </a:gradFill>
          <a:ln>
            <a:noFill/>
          </a:ln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396D7B0D-8F7E-457C-87B7-36258F178FAA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660" t="-3175" r="47500" b="66700"/>
          <a:stretch/>
        </p:blipFill>
        <p:spPr>
          <a:xfrm>
            <a:off x="4355826" y="1805590"/>
            <a:ext cx="1256917" cy="15033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59167660"/>
      </p:ext>
    </p:extLst>
  </p:cSld>
  <p:clrMapOvr>
    <a:masterClrMapping/>
  </p:clrMapOvr>
  <p:transition spd="slow">
    <p:cover/>
  </p:transition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968420B0-056F-4AF9-A981-CF35673B7397}"/>
              </a:ext>
            </a:extLst>
          </p:cNvPr>
          <p:cNvSpPr/>
          <p:nvPr/>
        </p:nvSpPr>
        <p:spPr>
          <a:xfrm rot="10800000">
            <a:off x="5635326" y="3905282"/>
            <a:ext cx="4473874" cy="605367"/>
          </a:xfrm>
          <a:prstGeom prst="rect">
            <a:avLst/>
          </a:prstGeom>
          <a:gradFill>
            <a:gsLst>
              <a:gs pos="0">
                <a:schemeClr val="bg1">
                  <a:lumMod val="95000"/>
                </a:schemeClr>
              </a:gs>
              <a:gs pos="50000">
                <a:schemeClr val="bg1">
                  <a:lumMod val="95000"/>
                </a:schemeClr>
              </a:gs>
              <a:gs pos="100000">
                <a:schemeClr val="bg1">
                  <a:lumMod val="85000"/>
                </a:schemeClr>
              </a:gs>
            </a:gsLst>
          </a:gradFill>
          <a:ln>
            <a:noFill/>
          </a:ln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" dirty="0"/>
          </a:p>
        </p:txBody>
      </p:sp>
      <p:pic>
        <p:nvPicPr>
          <p:cNvPr id="2050" name="Picture 2" descr="https://canadacollege.edu/studentlife/images/thumbnail_IMG_1460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52294" y="1645441"/>
            <a:ext cx="3243706" cy="43249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BF518A3A-ECE0-42A2-BD7B-43096BD7B6FA}"/>
              </a:ext>
            </a:extLst>
          </p:cNvPr>
          <p:cNvSpPr/>
          <p:nvPr/>
        </p:nvSpPr>
        <p:spPr>
          <a:xfrm>
            <a:off x="366852" y="228614"/>
            <a:ext cx="11458296" cy="690843"/>
          </a:xfrm>
          <a:prstGeom prst="rect">
            <a:avLst/>
          </a:prstGeom>
          <a:solidFill>
            <a:srgbClr val="006633"/>
          </a:solidFill>
          <a:ln>
            <a:noFill/>
          </a:ln>
          <a:effectLst/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/>
          </a:p>
        </p:txBody>
      </p:sp>
      <p:sp>
        <p:nvSpPr>
          <p:cNvPr id="6" name="Title 1"/>
          <p:cNvSpPr txBox="1">
            <a:spLocks/>
          </p:cNvSpPr>
          <p:nvPr/>
        </p:nvSpPr>
        <p:spPr>
          <a:xfrm>
            <a:off x="733704" y="323024"/>
            <a:ext cx="10515600" cy="528108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0000"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sz="3600" b="1" dirty="0" smtClean="0">
                <a:solidFill>
                  <a:schemeClr val="bg1"/>
                </a:solidFill>
                <a:effectLst>
                  <a:outerShdw blurRad="50800" dist="50800" dir="5400000" algn="ctr" rotWithShape="0">
                    <a:srgbClr val="000000">
                      <a:alpha val="43137"/>
                    </a:srgbClr>
                  </a:outerShdw>
                </a:effectLst>
                <a:latin typeface="Franklin Gothic Book" panose="020B0503020102020204" pitchFamily="34" charset="0"/>
              </a:rPr>
              <a:t>ASCC President Welcome</a:t>
            </a:r>
            <a:endParaRPr lang="en-US" sz="3600" b="1" dirty="0">
              <a:solidFill>
                <a:schemeClr val="bg1"/>
              </a:solidFill>
              <a:effectLst>
                <a:outerShdw blurRad="50800" dist="50800" dir="5400000" algn="ctr" rotWithShape="0">
                  <a:srgbClr val="000000">
                    <a:alpha val="43137"/>
                  </a:srgbClr>
                </a:outerShdw>
              </a:effectLst>
              <a:latin typeface="Franklin Gothic Book" panose="020B0503020102020204" pitchFamily="34" charset="0"/>
            </a:endParaRPr>
          </a:p>
        </p:txBody>
      </p:sp>
      <p:sp>
        <p:nvSpPr>
          <p:cNvPr id="7" name="Rectangle 9">
            <a:extLst>
              <a:ext uri="{FF2B5EF4-FFF2-40B4-BE49-F238E27FC236}">
                <a16:creationId xmlns:a16="http://schemas.microsoft.com/office/drawing/2014/main" id="{29C5912D-DD36-465B-BD92-BB0220505875}"/>
              </a:ext>
            </a:extLst>
          </p:cNvPr>
          <p:cNvSpPr/>
          <p:nvPr/>
        </p:nvSpPr>
        <p:spPr>
          <a:xfrm rot="10800000" flipH="1">
            <a:off x="366852" y="228614"/>
            <a:ext cx="1788160" cy="690775"/>
          </a:xfrm>
          <a:custGeom>
            <a:avLst/>
            <a:gdLst>
              <a:gd name="connsiteX0" fmla="*/ 0 w 1995342"/>
              <a:gd name="connsiteY0" fmla="*/ 0 h 690843"/>
              <a:gd name="connsiteX1" fmla="*/ 1995342 w 1995342"/>
              <a:gd name="connsiteY1" fmla="*/ 0 h 690843"/>
              <a:gd name="connsiteX2" fmla="*/ 1995342 w 1995342"/>
              <a:gd name="connsiteY2" fmla="*/ 690843 h 690843"/>
              <a:gd name="connsiteX3" fmla="*/ 0 w 1995342"/>
              <a:gd name="connsiteY3" fmla="*/ 690843 h 690843"/>
              <a:gd name="connsiteX4" fmla="*/ 0 w 1995342"/>
              <a:gd name="connsiteY4" fmla="*/ 0 h 690843"/>
              <a:gd name="connsiteX0" fmla="*/ 0 w 1995342"/>
              <a:gd name="connsiteY0" fmla="*/ 0 h 690843"/>
              <a:gd name="connsiteX1" fmla="*/ 1375630 w 1995342"/>
              <a:gd name="connsiteY1" fmla="*/ 0 h 690843"/>
              <a:gd name="connsiteX2" fmla="*/ 1995342 w 1995342"/>
              <a:gd name="connsiteY2" fmla="*/ 690843 h 690843"/>
              <a:gd name="connsiteX3" fmla="*/ 0 w 1995342"/>
              <a:gd name="connsiteY3" fmla="*/ 690843 h 690843"/>
              <a:gd name="connsiteX4" fmla="*/ 0 w 1995342"/>
              <a:gd name="connsiteY4" fmla="*/ 0 h 690843"/>
              <a:gd name="connsiteX0" fmla="*/ 0 w 1995342"/>
              <a:gd name="connsiteY0" fmla="*/ 0 h 690843"/>
              <a:gd name="connsiteX1" fmla="*/ 1427711 w 1995342"/>
              <a:gd name="connsiteY1" fmla="*/ 53873 h 690843"/>
              <a:gd name="connsiteX2" fmla="*/ 1995342 w 1995342"/>
              <a:gd name="connsiteY2" fmla="*/ 690843 h 690843"/>
              <a:gd name="connsiteX3" fmla="*/ 0 w 1995342"/>
              <a:gd name="connsiteY3" fmla="*/ 690843 h 690843"/>
              <a:gd name="connsiteX4" fmla="*/ 0 w 1995342"/>
              <a:gd name="connsiteY4" fmla="*/ 0 h 690843"/>
              <a:gd name="connsiteX0" fmla="*/ 26571 w 1995342"/>
              <a:gd name="connsiteY0" fmla="*/ 15898 h 636970"/>
              <a:gd name="connsiteX1" fmla="*/ 1427711 w 1995342"/>
              <a:gd name="connsiteY1" fmla="*/ 0 h 636970"/>
              <a:gd name="connsiteX2" fmla="*/ 1995342 w 1995342"/>
              <a:gd name="connsiteY2" fmla="*/ 636970 h 636970"/>
              <a:gd name="connsiteX3" fmla="*/ 0 w 1995342"/>
              <a:gd name="connsiteY3" fmla="*/ 636970 h 636970"/>
              <a:gd name="connsiteX4" fmla="*/ 26571 w 1995342"/>
              <a:gd name="connsiteY4" fmla="*/ 15898 h 636970"/>
              <a:gd name="connsiteX0" fmla="*/ 0 w 1995342"/>
              <a:gd name="connsiteY0" fmla="*/ 0 h 640502"/>
              <a:gd name="connsiteX1" fmla="*/ 1427711 w 1995342"/>
              <a:gd name="connsiteY1" fmla="*/ 3532 h 640502"/>
              <a:gd name="connsiteX2" fmla="*/ 1995342 w 1995342"/>
              <a:gd name="connsiteY2" fmla="*/ 640502 h 640502"/>
              <a:gd name="connsiteX3" fmla="*/ 0 w 1995342"/>
              <a:gd name="connsiteY3" fmla="*/ 640502 h 640502"/>
              <a:gd name="connsiteX4" fmla="*/ 0 w 1995342"/>
              <a:gd name="connsiteY4" fmla="*/ 0 h 640502"/>
              <a:gd name="connsiteX0" fmla="*/ 0 w 1995342"/>
              <a:gd name="connsiteY0" fmla="*/ 0 h 640502"/>
              <a:gd name="connsiteX1" fmla="*/ 1420271 w 1995342"/>
              <a:gd name="connsiteY1" fmla="*/ 1765 h 640502"/>
              <a:gd name="connsiteX2" fmla="*/ 1995342 w 1995342"/>
              <a:gd name="connsiteY2" fmla="*/ 640502 h 640502"/>
              <a:gd name="connsiteX3" fmla="*/ 0 w 1995342"/>
              <a:gd name="connsiteY3" fmla="*/ 640502 h 640502"/>
              <a:gd name="connsiteX4" fmla="*/ 0 w 1995342"/>
              <a:gd name="connsiteY4" fmla="*/ 0 h 640502"/>
              <a:gd name="connsiteX0" fmla="*/ 0 w 1995342"/>
              <a:gd name="connsiteY0" fmla="*/ 0 h 640502"/>
              <a:gd name="connsiteX1" fmla="*/ 1439402 w 1995342"/>
              <a:gd name="connsiteY1" fmla="*/ 3532 h 640502"/>
              <a:gd name="connsiteX2" fmla="*/ 1995342 w 1995342"/>
              <a:gd name="connsiteY2" fmla="*/ 640502 h 640502"/>
              <a:gd name="connsiteX3" fmla="*/ 0 w 1995342"/>
              <a:gd name="connsiteY3" fmla="*/ 640502 h 640502"/>
              <a:gd name="connsiteX4" fmla="*/ 0 w 1995342"/>
              <a:gd name="connsiteY4" fmla="*/ 0 h 640502"/>
              <a:gd name="connsiteX0" fmla="*/ 0 w 1995342"/>
              <a:gd name="connsiteY0" fmla="*/ 0 h 640502"/>
              <a:gd name="connsiteX1" fmla="*/ 1441528 w 1995342"/>
              <a:gd name="connsiteY1" fmla="*/ 1765 h 640502"/>
              <a:gd name="connsiteX2" fmla="*/ 1995342 w 1995342"/>
              <a:gd name="connsiteY2" fmla="*/ 640502 h 640502"/>
              <a:gd name="connsiteX3" fmla="*/ 0 w 1995342"/>
              <a:gd name="connsiteY3" fmla="*/ 640502 h 640502"/>
              <a:gd name="connsiteX4" fmla="*/ 0 w 1995342"/>
              <a:gd name="connsiteY4" fmla="*/ 0 h 640502"/>
              <a:gd name="connsiteX0" fmla="*/ 0 w 1995342"/>
              <a:gd name="connsiteY0" fmla="*/ 0 h 640502"/>
              <a:gd name="connsiteX1" fmla="*/ 1442591 w 1995342"/>
              <a:gd name="connsiteY1" fmla="*/ 882 h 640502"/>
              <a:gd name="connsiteX2" fmla="*/ 1995342 w 1995342"/>
              <a:gd name="connsiteY2" fmla="*/ 640502 h 640502"/>
              <a:gd name="connsiteX3" fmla="*/ 0 w 1995342"/>
              <a:gd name="connsiteY3" fmla="*/ 640502 h 640502"/>
              <a:gd name="connsiteX4" fmla="*/ 0 w 1995342"/>
              <a:gd name="connsiteY4" fmla="*/ 0 h 6405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95342" h="640502">
                <a:moveTo>
                  <a:pt x="0" y="0"/>
                </a:moveTo>
                <a:lnTo>
                  <a:pt x="1442591" y="882"/>
                </a:lnTo>
                <a:lnTo>
                  <a:pt x="1995342" y="640502"/>
                </a:lnTo>
                <a:lnTo>
                  <a:pt x="0" y="640502"/>
                </a:lnTo>
                <a:lnTo>
                  <a:pt x="0" y="0"/>
                </a:lnTo>
                <a:close/>
              </a:path>
            </a:pathLst>
          </a:custGeom>
          <a:ln>
            <a:noFill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sz="1100" dirty="0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A706A127-5D94-4F71-B4B9-A46D6E6F1079}"/>
              </a:ext>
            </a:extLst>
          </p:cNvPr>
          <p:cNvSpPr txBox="1">
            <a:spLocks/>
          </p:cNvSpPr>
          <p:nvPr/>
        </p:nvSpPr>
        <p:spPr>
          <a:xfrm>
            <a:off x="6314364" y="3961675"/>
            <a:ext cx="3853217" cy="702691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3200" dirty="0" smtClean="0">
                <a:solidFill>
                  <a:srgbClr val="006633"/>
                </a:solidFill>
                <a:latin typeface="Franklin Gothic Medium" panose="020B0603020102020204" pitchFamily="34" charset="0"/>
              </a:rPr>
              <a:t>Xitlali Curincita</a:t>
            </a:r>
            <a:endParaRPr lang="en-US" sz="3200" dirty="0">
              <a:solidFill>
                <a:srgbClr val="006633"/>
              </a:solidFill>
              <a:latin typeface="Franklin Gothic Medium" panose="020B0603020102020204" pitchFamily="34" charset="0"/>
            </a:endParaRPr>
          </a:p>
        </p:txBody>
      </p:sp>
      <p:sp>
        <p:nvSpPr>
          <p:cNvPr id="10" name="Content Placeholder 2"/>
          <p:cNvSpPr>
            <a:spLocks noGrp="1"/>
          </p:cNvSpPr>
          <p:nvPr>
            <p:ph idx="1"/>
          </p:nvPr>
        </p:nvSpPr>
        <p:spPr>
          <a:xfrm>
            <a:off x="6314364" y="4732607"/>
            <a:ext cx="5510783" cy="1627250"/>
          </a:xfrm>
        </p:spPr>
        <p:txBody>
          <a:bodyPr/>
          <a:lstStyle/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en-US" dirty="0" smtClean="0">
                <a:solidFill>
                  <a:srgbClr val="006633"/>
                </a:solidFill>
                <a:latin typeface="Adobe Garamond Pro" panose="02020502060506020403" pitchFamily="18" charset="0"/>
              </a:rPr>
              <a:t>Student Senate President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en-US" dirty="0" smtClean="0">
                <a:solidFill>
                  <a:srgbClr val="006633"/>
                </a:solidFill>
                <a:latin typeface="Adobe Garamond Pro" panose="02020502060506020403" pitchFamily="18" charset="0"/>
              </a:rPr>
              <a:t>Middle College Student</a:t>
            </a:r>
            <a:endParaRPr lang="en-US" dirty="0">
              <a:solidFill>
                <a:srgbClr val="006633"/>
              </a:solidFill>
              <a:latin typeface="Adobe Garamond Pro" panose="02020502060506020403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095649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POWER_POINT_EXCEL_LINK_TAG_NAME" val="{&quot;Id&quot;:&quot;POWER_USER_LINK_18F64F00_42EF_4CFA_BA9D_D06DB1DD5A80&quot;,&quot;SourceFullName&quot;:&quot;https://smccd-my.sharepoint.com/personal/engelk_smccd_edu/Documents/Admin/President's Office/President's Advisory Council/Graduate data 2021.xlsx&quot;,&quot;LastUpdate&quot;:&quot;2021-06-10 9:29 AM&quot;,&quot;UpdatedBy&quot;:&quot;engelk&quot;,&quot;IsLinked&quot;:false,&quot;IsBrokenLink&quot;:false,&quot;Type&quot;:1}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POWER_POINT_EXCEL_LINK_TAG_NAME" val="{&quot;Id&quot;:&quot;POWER_USER_LINK_21452482_4E77_4D52_9E29_0DCF7B185964&quot;,&quot;SourceFullName&quot;:&quot;https://smccd-my.sharepoint.com/personal/engelk_smccd_edu/Documents/Admin/President's Office/President's Advisory Council/Graduate data 2021.xlsx&quot;,&quot;LastUpdate&quot;:&quot;2021-06-10 9:16 AM&quot;,&quot;UpdatedBy&quot;:&quot;engelk&quot;,&quot;IsLinked&quot;:false,&quot;IsBrokenLink&quot;:false,&quot;Type&quot;:1}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POWER_POINT_EXCEL_LINK_TAG_NAME" val="{&quot;Id&quot;:&quot;POWER_USER_LINK_C45BAD48_B286_4E0F_8FB2_D183B7881975&quot;,&quot;SourceFullName&quot;:&quot;https://smccd-my.sharepoint.com/personal/engelk_smccd_edu/Documents/Admin/President's Office/President's Advisory Council/Graduate data 2021.xlsx&quot;,&quot;LastUpdate&quot;:&quot;2021-08-05 8:41 AM&quot;,&quot;UpdatedBy&quot;:&quot;engelk&quot;,&quot;IsLinked&quot;:false,&quot;IsBrokenLink&quot;:false,&quot;Type&quot;:1}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POWER_POINT_EXCEL_LINK_TAG_NAME" val="{&quot;Id&quot;:&quot;POWER_USER_LINK_DC616455_D752_4647_829D_31A216FD5659&quot;,&quot;SourceFullName&quot;:&quot;Book1&quot;,&quot;LastUpdate&quot;:&quot;2021-08-07 7:49 AM&quot;,&quot;UpdatedBy&quot;:&quot;engelk&quot;,&quot;IsLinked&quot;:false,&quot;IsBrokenLink&quot;:false,&quot;Type&quot;:1}"/>
</p:tagLst>
</file>

<file path=ppt/theme/_rels/theme2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Slate">
  <a:themeElements>
    <a:clrScheme name="Custom 4">
      <a:dk1>
        <a:sysClr val="windowText" lastClr="000000"/>
      </a:dk1>
      <a:lt1>
        <a:sysClr val="window" lastClr="FFFFFF"/>
      </a:lt1>
      <a:dk2>
        <a:srgbClr val="006342"/>
      </a:dk2>
      <a:lt2>
        <a:srgbClr val="F2F5D7"/>
      </a:lt2>
      <a:accent1>
        <a:srgbClr val="549E39"/>
      </a:accent1>
      <a:accent2>
        <a:srgbClr val="8AB833"/>
      </a:accent2>
      <a:accent3>
        <a:srgbClr val="C0CF3A"/>
      </a:accent3>
      <a:accent4>
        <a:srgbClr val="029676"/>
      </a:accent4>
      <a:accent5>
        <a:srgbClr val="4AB5C4"/>
      </a:accent5>
      <a:accent6>
        <a:srgbClr val="0989B1"/>
      </a:accent6>
      <a:hlink>
        <a:srgbClr val="F2F5D7"/>
      </a:hlink>
      <a:folHlink>
        <a:srgbClr val="BA6906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/>
        </a:solidFill>
        <a:blipFill rotWithShape="1">
          <a:blip xmlns:r="http://schemas.openxmlformats.org/officeDocument/2006/relationships" r:embed="rId1">
            <a:duotone>
              <a:schemeClr val="phClr">
                <a:shade val="80000"/>
                <a:lumMod val="80000"/>
              </a:schemeClr>
              <a:schemeClr val="phClr">
                <a:tint val="98000"/>
              </a:schemeClr>
            </a:duotone>
          </a:blip>
          <a:stretch/>
        </a:blip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Slate" id="{C3F70B94-7CE9-428E-ADC1-3269CC2C3385}" vid="{3F2DE9A5-64E6-437C-A389-CC4477E817E8}"/>
    </a:ext>
  </a:extLst>
</a:theme>
</file>

<file path=ppt/theme/theme3.xml><?xml version="1.0" encoding="utf-8"?>
<a:theme xmlns:a="http://schemas.openxmlformats.org/drawingml/2006/main" name="Simple Light">
  <a:themeElements>
    <a:clrScheme name="Simple Light">
      <a:dk1>
        <a:srgbClr val="000000"/>
      </a:dk1>
      <a:lt1>
        <a:srgbClr val="FFFFFF"/>
      </a:lt1>
      <a:dk2>
        <a:srgbClr val="595959"/>
      </a:dk2>
      <a:lt2>
        <a:srgbClr val="EEEEEE"/>
      </a:lt2>
      <a:accent1>
        <a:srgbClr val="4285F4"/>
      </a:accent1>
      <a:accent2>
        <a:srgbClr val="212121"/>
      </a:accent2>
      <a:accent3>
        <a:srgbClr val="78909C"/>
      </a:accent3>
      <a:accent4>
        <a:srgbClr val="FFAB40"/>
      </a:accent4>
      <a:accent5>
        <a:srgbClr val="0097A7"/>
      </a:accent5>
      <a:accent6>
        <a:srgbClr val="EEFF41"/>
      </a:accent6>
      <a:hlink>
        <a:srgbClr val="0097A7"/>
      </a:hlink>
      <a:folHlink>
        <a:srgbClr val="0097A7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3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4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5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9551A415522C74CB2195B1A777E9A7C" ma:contentTypeVersion="13" ma:contentTypeDescription="Create a new document." ma:contentTypeScope="" ma:versionID="618bc19bae1ae606cfd6804c8e2176d6">
  <xsd:schema xmlns:xsd="http://www.w3.org/2001/XMLSchema" xmlns:xs="http://www.w3.org/2001/XMLSchema" xmlns:p="http://schemas.microsoft.com/office/2006/metadata/properties" xmlns:ns3="2bc55ecc-363e-43e9-bfac-4ba2e86f45ee" xmlns:ns4="bb5bbb0b-6c89-44d7-be61-0adfe653f983" targetNamespace="http://schemas.microsoft.com/office/2006/metadata/properties" ma:root="true" ma:fieldsID="e0599e1f8396ab867dd6a01ab5d3ef8a" ns3:_="" ns4:_="">
    <xsd:import namespace="2bc55ecc-363e-43e9-bfac-4ba2e86f45ee"/>
    <xsd:import namespace="bb5bbb0b-6c89-44d7-be61-0adfe653f983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OCR" minOccurs="0"/>
                <xsd:element ref="ns3:MediaServiceEventHashCode" minOccurs="0"/>
                <xsd:element ref="ns3:MediaServiceGenerationTime" minOccurs="0"/>
                <xsd:element ref="ns3:MediaServiceDateTaken" minOccurs="0"/>
                <xsd:element ref="ns3:MediaServiceLocation" minOccurs="0"/>
                <xsd:element ref="ns4:SharedWithUsers" minOccurs="0"/>
                <xsd:element ref="ns4:SharedWithDetails" minOccurs="0"/>
                <xsd:element ref="ns4:SharingHintHash" minOccurs="0"/>
                <xsd:element ref="ns3:MediaServiceAutoKeyPoints" minOccurs="0"/>
                <xsd:element ref="ns3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bc55ecc-363e-43e9-bfac-4ba2e86f45ee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MediaServiceAutoTags" ma:internalName="MediaServiceAutoTags" ma:readOnly="true">
      <xsd:simpleType>
        <xsd:restriction base="dms:Text"/>
      </xsd:simpleType>
    </xsd:element>
    <xsd:element name="MediaServiceOCR" ma:index="11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EventHashCode" ma:index="12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DateTaken" ma:index="14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5" nillable="true" ma:displayName="Location" ma:internalName="MediaServiceLocation" ma:readOnly="true">
      <xsd:simpleType>
        <xsd:restriction base="dms:Text"/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b5bbb0b-6c89-44d7-be61-0adfe653f983" elementFormDefault="qualified">
    <xsd:import namespace="http://schemas.microsoft.com/office/2006/documentManagement/types"/>
    <xsd:import namespace="http://schemas.microsoft.com/office/infopath/2007/PartnerControls"/>
    <xsd:element name="SharedWithUsers" ma:index="16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7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8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293EA4C8-034B-4329-B2F3-9AE5AA55313D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2bc55ecc-363e-43e9-bfac-4ba2e86f45ee"/>
    <ds:schemaRef ds:uri="bb5bbb0b-6c89-44d7-be61-0adfe653f983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2EDFDBD7-C15F-4ED6-911E-62AB98F062D0}">
  <ds:schemaRefs>
    <ds:schemaRef ds:uri="bb5bbb0b-6c89-44d7-be61-0adfe653f983"/>
    <ds:schemaRef ds:uri="http://schemas.microsoft.com/office/2006/documentManagement/types"/>
    <ds:schemaRef ds:uri="2bc55ecc-363e-43e9-bfac-4ba2e86f45ee"/>
    <ds:schemaRef ds:uri="http://www.w3.org/XML/1998/namespace"/>
    <ds:schemaRef ds:uri="http://purl.org/dc/dcmitype/"/>
    <ds:schemaRef ds:uri="http://purl.org/dc/terms/"/>
    <ds:schemaRef ds:uri="http://schemas.microsoft.com/office/2006/metadata/properties"/>
    <ds:schemaRef ds:uri="http://purl.org/dc/elements/1.1/"/>
    <ds:schemaRef ds:uri="http://schemas.microsoft.com/office/infopath/2007/PartnerControls"/>
    <ds:schemaRef ds:uri="http://schemas.openxmlformats.org/package/2006/metadata/core-properties"/>
  </ds:schemaRefs>
</ds:datastoreItem>
</file>

<file path=customXml/itemProps3.xml><?xml version="1.0" encoding="utf-8"?>
<ds:datastoreItem xmlns:ds="http://schemas.openxmlformats.org/officeDocument/2006/customXml" ds:itemID="{EC8D2053-B13B-4D83-9A5D-6F9152ED57D5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7088</TotalTime>
  <Words>3465</Words>
  <Application>Microsoft Office PowerPoint</Application>
  <PresentationFormat>Widescreen</PresentationFormat>
  <Paragraphs>498</Paragraphs>
  <Slides>53</Slides>
  <Notes>18</Notes>
  <HiddenSlides>0</HiddenSlides>
  <MMClips>0</MMClips>
  <ScaleCrop>false</ScaleCrop>
  <HeadingPairs>
    <vt:vector size="6" baseType="variant">
      <vt:variant>
        <vt:lpstr>Fonts Used</vt:lpstr>
      </vt:variant>
      <vt:variant>
        <vt:i4>12</vt:i4>
      </vt:variant>
      <vt:variant>
        <vt:lpstr>Theme</vt:lpstr>
      </vt:variant>
      <vt:variant>
        <vt:i4>3</vt:i4>
      </vt:variant>
      <vt:variant>
        <vt:lpstr>Slide Titles</vt:lpstr>
      </vt:variant>
      <vt:variant>
        <vt:i4>53</vt:i4>
      </vt:variant>
    </vt:vector>
  </HeadingPairs>
  <TitlesOfParts>
    <vt:vector size="68" baseType="lpstr">
      <vt:lpstr>Adobe Garamond Pro</vt:lpstr>
      <vt:lpstr>Arial</vt:lpstr>
      <vt:lpstr>Calibri</vt:lpstr>
      <vt:lpstr>Calibri Light</vt:lpstr>
      <vt:lpstr>Century Gothic</vt:lpstr>
      <vt:lpstr>Franklin Gothic Book</vt:lpstr>
      <vt:lpstr>Franklin Gothic Demi Cond</vt:lpstr>
      <vt:lpstr>Franklin Gothic Medium</vt:lpstr>
      <vt:lpstr>Garamond</vt:lpstr>
      <vt:lpstr>Times New Roman</vt:lpstr>
      <vt:lpstr>Trebuchet MS</vt:lpstr>
      <vt:lpstr>Wingdings 2</vt:lpstr>
      <vt:lpstr>Office Theme</vt:lpstr>
      <vt:lpstr>Slate</vt:lpstr>
      <vt:lpstr>Simple Light</vt:lpstr>
      <vt:lpstr>President’s Welcome</vt:lpstr>
      <vt:lpstr>Welcome New Faculty &amp; Staff</vt:lpstr>
      <vt:lpstr>New Employee Orientation now in Canvas!</vt:lpstr>
      <vt:lpstr>PowerPoint Presentation</vt:lpstr>
      <vt:lpstr>Cañada College – 25 Years Service Awards</vt:lpstr>
      <vt:lpstr>PowerPoint Presentation</vt:lpstr>
      <vt:lpstr>Cañada College – 10 Years Service Awards</vt:lpstr>
      <vt:lpstr>PowerPoint Presentation</vt:lpstr>
      <vt:lpstr>PowerPoint Presentation</vt:lpstr>
      <vt:lpstr>PowerPoint Presentation</vt:lpstr>
      <vt:lpstr>PowerPoint Presentation</vt:lpstr>
      <vt:lpstr>Degree Awards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Cultural Center Focus Groups  Cañada College</vt:lpstr>
      <vt:lpstr>CLP Team</vt:lpstr>
      <vt:lpstr>PowerPoint Presentation</vt:lpstr>
      <vt:lpstr>Purpose of the Focus Groups</vt:lpstr>
      <vt:lpstr>Focus Groups</vt:lpstr>
      <vt:lpstr>Key Findings</vt:lpstr>
      <vt:lpstr>Key Findings</vt:lpstr>
      <vt:lpstr>Key Findings</vt:lpstr>
      <vt:lpstr>Key Findings</vt:lpstr>
      <vt:lpstr>Recommendations for the Cultural Center</vt:lpstr>
      <vt:lpstr>Recommendations for the Cultural Center</vt:lpstr>
      <vt:lpstr>General Recommendations</vt:lpstr>
      <vt:lpstr>PowerPoint Presentation</vt:lpstr>
      <vt:lpstr>Thank you to the more than 40 faculty, staff and student leaders who participated in our Leadership Retreat this year!  Held on Zoom on August 11 &amp; 12, 2021  All materials are posted here: https://canadacollege.edu/plans/leadership-retreat.php </vt:lpstr>
      <vt:lpstr>This year we propose a focus on  “Recovery with Equity”  that, with equity and antiracism as our overarching priority, builds on and helps fully implement our existing strategic initiatives</vt:lpstr>
      <vt:lpstr>Proposed priority…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Educational Master Planning Process &amp; Timeline</vt:lpstr>
      <vt:lpstr>PowerPoint Presentation</vt:lpstr>
      <vt:lpstr>PowerPoint Presentation</vt:lpstr>
      <vt:lpstr>PowerPoint Presentation</vt:lpstr>
      <vt:lpstr>PowerPoint Presentation</vt:lpstr>
    </vt:vector>
  </TitlesOfParts>
  <Company>SMCCD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Rodriguez, Megan</dc:creator>
  <cp:lastModifiedBy>Reed, David</cp:lastModifiedBy>
  <cp:revision>238</cp:revision>
  <cp:lastPrinted>2016-06-13T15:20:29Z</cp:lastPrinted>
  <dcterms:created xsi:type="dcterms:W3CDTF">2015-08-26T22:52:00Z</dcterms:created>
  <dcterms:modified xsi:type="dcterms:W3CDTF">2021-08-17T22:54:2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29551A415522C74CB2195B1A777E9A7C</vt:lpwstr>
  </property>
</Properties>
</file>